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2147374713" r:id="rId6"/>
    <p:sldId id="2147472542" r:id="rId7"/>
    <p:sldId id="2147472540" r:id="rId8"/>
    <p:sldId id="2147472535" r:id="rId9"/>
    <p:sldId id="4455" r:id="rId10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bilde" id="{3E64ECA0-95F1-3242-BAC6-94C8F4A3A210}">
          <p14:sldIdLst/>
        </p14:section>
        <p14:section name="Tekst + foto" id="{71292FC8-ED35-EA46-B2E6-75E7ED586B5F}">
          <p14:sldIdLst/>
        </p14:section>
        <p14:section name="Punktliste" id="{5360CCDC-7767-D547-BBDD-3E2D36311F56}">
          <p14:sldIdLst/>
        </p14:section>
        <p14:section name="Nummert liste" id="{AE3F65EC-0978-3947-9742-E48AEBB587A3}">
          <p14:sldIdLst/>
        </p14:section>
        <p14:section name="Datamaskin + mobil" id="{F64C6645-995F-514A-BBCE-BF869758600D}">
          <p14:sldIdLst/>
        </p14:section>
        <p14:section name="Tabell" id="{7D4EB493-DB35-9E4E-9E2F-59EEE11203D0}">
          <p14:sldIdLst/>
        </p14:section>
        <p14:section name="Sitat" id="{69AB6FEE-77F5-E84F-B7F2-EFD22981C9C2}">
          <p14:sldIdLst/>
        </p14:section>
        <p14:section name="Diagram" id="{C084C9C9-623D-CB48-97F4-7CF2FAEC2790}">
          <p14:sldIdLst/>
        </p14:section>
        <p14:section name="Tom + logo avslutning¨" id="{4DF96316-B731-7D47-AC48-2FB62C720EA7}">
          <p14:sldIdLst/>
        </p14:section>
        <p14:section name="Verktøykasse (sjult)" id="{AF19DA8A-1059-D44E-919E-657577119CE7}">
          <p14:sldIdLst>
            <p14:sldId id="256"/>
            <p14:sldId id="2147374713"/>
            <p14:sldId id="2147472542"/>
            <p14:sldId id="2147472540"/>
            <p14:sldId id="2147472535"/>
            <p14:sldId id="445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0768C6-341D-B475-7BFC-59F78EAE56B7}" name="Gjestebruker" initials="Gj" userId="S::urn:spo:tenantanon#24a67d58-a16d-4152-a3ae-e6dfa508b9a0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cia" initials="f" lastIdx="3" clrIdx="0">
    <p:extLst>
      <p:ext uri="{19B8F6BF-5375-455C-9EA6-DF929625EA0E}">
        <p15:presenceInfo xmlns:p15="http://schemas.microsoft.com/office/powerpoint/2012/main" userId="S::felicia@happily.se::5f25382a-de73-42d6-91eb-bbef86192a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422F"/>
    <a:srgbClr val="676E63"/>
    <a:srgbClr val="9E9484"/>
    <a:srgbClr val="C8C0AF"/>
    <a:srgbClr val="F1F1F1"/>
    <a:srgbClr val="B7BEB3"/>
    <a:srgbClr val="FCCF8F"/>
    <a:srgbClr val="BBD4E3"/>
    <a:srgbClr val="A56A57"/>
    <a:srgbClr val="1328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llanmörkt format 4 - Dekorfär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10" d="100"/>
          <a:sy n="110" d="100"/>
        </p:scale>
        <p:origin x="2208" y="10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887F24D-C489-4013-A648-3BD01294DD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95AEA41-443F-4B4D-A5C3-5130AC9D62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AED56-E635-4E16-B912-735EAC0A89D4}" type="datetimeFigureOut">
              <a:rPr lang="sv-SE" smtClean="0"/>
              <a:t>2025-11-2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560F5A-B8AF-4819-BE57-89781D6694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43F482F-2711-486B-A66A-1DA384C675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886A42-DFA3-41FF-95D1-E11BB361B05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24883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01E3F1-AA19-4477-B297-26A5DC853EDA}" type="datetimeFigureOut">
              <a:rPr lang="sv-SE" smtClean="0"/>
              <a:t>2025-11-2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21679C-40CE-46CC-852E-42B6B44FFC7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106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7120EE4-B956-8B4E-9621-9D1B5AE479D8}" type="datetime1">
              <a:rPr lang="nb-NO" smtClean="0"/>
              <a:t>26.11.2025</a:t>
            </a:fld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EFAA31-A2E1-384C-B365-E537A5A88929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8201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4803C7-85F0-BF6F-5689-A32F1F404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14EBFFAF-F207-EA4C-5EC2-1F424A142C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B70CE473-43F1-27D6-88A3-1CCED5B25C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53F3242-D5F7-8423-2CFD-53327E906CB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7120EE4-B956-8B4E-9621-9D1B5AE479D8}" type="datetime1">
              <a:rPr lang="nb-NO" smtClean="0"/>
              <a:t>26.11.2025</a:t>
            </a:fld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A3A04AD-E7D1-A5E8-5291-6E68A24647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EFAA31-A2E1-384C-B365-E537A5A88929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1183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21679C-40CE-46CC-852E-42B6B44FFC72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606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-A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46C19E9E-1432-44BD-C707-E1BFB5ED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453" y="185183"/>
            <a:ext cx="2118733" cy="1027048"/>
          </a:xfrm>
          <a:prstGeom prst="rect">
            <a:avLst/>
          </a:prstGeom>
        </p:spPr>
      </p:pic>
      <p:sp>
        <p:nvSpPr>
          <p:cNvPr id="2" name="Underrubrik 2">
            <a:extLst>
              <a:ext uri="{FF2B5EF4-FFF2-40B4-BE49-F238E27FC236}">
                <a16:creationId xmlns:a16="http://schemas.microsoft.com/office/drawing/2014/main" id="{19CBB6E3-33C4-B9DB-53B8-A769BEEDE6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845" y="2679229"/>
            <a:ext cx="7860030" cy="17738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Platshållare för text 8">
            <a:extLst>
              <a:ext uri="{FF2B5EF4-FFF2-40B4-BE49-F238E27FC236}">
                <a16:creationId xmlns:a16="http://schemas.microsoft.com/office/drawing/2014/main" id="{36D7E5CD-2676-AE04-06E6-165D7E0F75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4614969"/>
            <a:ext cx="7764734" cy="878865"/>
          </a:xfrm>
          <a:prstGeom prst="rect">
            <a:avLst/>
          </a:prstGeom>
        </p:spPr>
        <p:txBody>
          <a:bodyPr numCol="1"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>
                <a:solidFill>
                  <a:srgbClr val="F1F1F1"/>
                </a:solidFill>
              </a:defRPr>
            </a:lvl1pPr>
            <a:lvl2pPr>
              <a:buFontTx/>
              <a:buNone/>
              <a:defRPr>
                <a:solidFill>
                  <a:schemeClr val="tx1"/>
                </a:solidFill>
              </a:defRPr>
            </a:lvl2pPr>
            <a:lvl3pPr>
              <a:buFontTx/>
              <a:buNone/>
              <a:defRPr>
                <a:solidFill>
                  <a:schemeClr val="tx1"/>
                </a:solidFill>
              </a:defRPr>
            </a:lvl3pPr>
            <a:lvl4pPr>
              <a:buFontTx/>
              <a:buNone/>
              <a:defRPr>
                <a:solidFill>
                  <a:schemeClr val="tx1"/>
                </a:solidFill>
              </a:defRPr>
            </a:lvl4pPr>
            <a:lvl5pPr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err="1"/>
              <a:t>Undertekst</a:t>
            </a:r>
            <a:r>
              <a:rPr lang="en-US"/>
              <a:t>  / </a:t>
            </a:r>
            <a:r>
              <a:rPr lang="en-US" err="1"/>
              <a:t>da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541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til høyre grønn bg">
    <p:bg>
      <p:bgPr>
        <a:solidFill>
          <a:srgbClr val="B7BE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05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 10">
            <a:extLst>
              <a:ext uri="{FF2B5EF4-FFF2-40B4-BE49-F238E27FC236}">
                <a16:creationId xmlns:a16="http://schemas.microsoft.com/office/drawing/2014/main" id="{10A26192-41E1-054C-955B-AA84A3B669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0800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6" name="Platshållare för text 8">
            <a:extLst>
              <a:ext uri="{FF2B5EF4-FFF2-40B4-BE49-F238E27FC236}">
                <a16:creationId xmlns:a16="http://schemas.microsoft.com/office/drawing/2014/main" id="{50B29B8F-702A-ED4A-B290-2A29373BA6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86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377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til venstre mørk bg2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93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F1F1F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6B59E1A-476D-4361-B790-FEA264511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749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F1F1F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F834DD2B-B953-4507-B91F-7303E9259A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3A227337-FB6E-67ED-4807-CC01FBCF60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3784" y="96334"/>
            <a:ext cx="966817" cy="468661"/>
          </a:xfrm>
          <a:prstGeom prst="rect">
            <a:avLst/>
          </a:prstGeom>
        </p:spPr>
      </p:pic>
      <p:sp>
        <p:nvSpPr>
          <p:cNvPr id="6" name="Plassholder for loddrett tekst 13">
            <a:extLst>
              <a:ext uri="{FF2B5EF4-FFF2-40B4-BE49-F238E27FC236}">
                <a16:creationId xmlns:a16="http://schemas.microsoft.com/office/drawing/2014/main" id="{6502489D-F6E9-B92E-E8DF-AF9B7B71C3C8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7" name="Plassholder for loddrett tekst 16">
            <a:extLst>
              <a:ext uri="{FF2B5EF4-FFF2-40B4-BE49-F238E27FC236}">
                <a16:creationId xmlns:a16="http://schemas.microsoft.com/office/drawing/2014/main" id="{0BDEAE1F-A966-6F39-DD79-3DD017A051E4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8" name="Platshållare för bildnummer 4">
            <a:extLst>
              <a:ext uri="{FF2B5EF4-FFF2-40B4-BE49-F238E27FC236}">
                <a16:creationId xmlns:a16="http://schemas.microsoft.com/office/drawing/2014/main" id="{8B92DE31-B113-860F-24E7-21847AB00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8632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til venstre lys grønn">
    <p:bg>
      <p:bgPr>
        <a:solidFill>
          <a:srgbClr val="B7BE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93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6B59E1A-476D-4361-B790-FEA264511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749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F834DD2B-B953-4507-B91F-7303E9259A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noFill/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Bilde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5F7EAD45-AF04-36CE-14A3-DCA36EFF4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3784" y="96334"/>
            <a:ext cx="966817" cy="468661"/>
          </a:xfrm>
          <a:prstGeom prst="rect">
            <a:avLst/>
          </a:prstGeom>
        </p:spPr>
      </p:pic>
      <p:sp>
        <p:nvSpPr>
          <p:cNvPr id="8" name="Plassholder for loddrett tekst 13">
            <a:extLst>
              <a:ext uri="{FF2B5EF4-FFF2-40B4-BE49-F238E27FC236}">
                <a16:creationId xmlns:a16="http://schemas.microsoft.com/office/drawing/2014/main" id="{B4191174-2D8F-99BB-472A-7DBD9885AF93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0" name="Plassholder for loddrett tekst 16">
            <a:extLst>
              <a:ext uri="{FF2B5EF4-FFF2-40B4-BE49-F238E27FC236}">
                <a16:creationId xmlns:a16="http://schemas.microsoft.com/office/drawing/2014/main" id="{960E8F57-C883-C907-B92B-3945A5DF031C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F1F1F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448FA347-41B0-4296-C638-91A9573A2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F1F1F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413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til venstre lys bg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93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7D422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6B59E1A-476D-4361-B790-FEA264511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749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F834DD2B-B953-4507-B91F-7303E9259A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6" name="Plassholder for loddrett tekst 13">
            <a:extLst>
              <a:ext uri="{FF2B5EF4-FFF2-40B4-BE49-F238E27FC236}">
                <a16:creationId xmlns:a16="http://schemas.microsoft.com/office/drawing/2014/main" id="{B9469B2A-F115-B5FE-D70E-094E032C0F01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  <a:noFill/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7" name="Plassholder for loddrett tekst 16">
            <a:extLst>
              <a:ext uri="{FF2B5EF4-FFF2-40B4-BE49-F238E27FC236}">
                <a16:creationId xmlns:a16="http://schemas.microsoft.com/office/drawing/2014/main" id="{91FED5D3-DB4D-9ADB-D1DC-6FD8B229F207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8" name="Platshållare för bildnummer 4">
            <a:extLst>
              <a:ext uri="{FF2B5EF4-FFF2-40B4-BE49-F238E27FC236}">
                <a16:creationId xmlns:a16="http://schemas.microsoft.com/office/drawing/2014/main" id="{A801BF94-FA2E-7724-293A-629A55D60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32C138DC-765C-149F-CF79-876817B39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3784" y="96334"/>
            <a:ext cx="966817" cy="468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908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+ mye brødteks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7FA9E134-5D6A-4B25-8A73-77D7BF92F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71286"/>
            <a:ext cx="7920000" cy="432000"/>
          </a:xfrm>
        </p:spPr>
        <p:txBody>
          <a:bodyPr anchor="t" anchorCtr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CCBF9A5E-CAD9-490A-ACCB-A05C6E9A6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715" y="1417143"/>
            <a:ext cx="7919998" cy="4769569"/>
          </a:xfrm>
        </p:spPr>
        <p:txBody>
          <a:bodyPr/>
          <a:lstStyle>
            <a:lvl1pPr marL="0" indent="0"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>
                <a:solidFill>
                  <a:srgbClr val="132849"/>
                </a:solidFill>
              </a:defRPr>
            </a:lvl2pPr>
            <a:lvl3pPr marL="914400" indent="0">
              <a:buNone/>
              <a:defRPr>
                <a:solidFill>
                  <a:srgbClr val="132849"/>
                </a:solidFill>
              </a:defRPr>
            </a:lvl3pPr>
            <a:lvl4pPr marL="1371600" indent="0">
              <a:buNone/>
              <a:defRPr>
                <a:solidFill>
                  <a:srgbClr val="132849"/>
                </a:solidFill>
              </a:defRPr>
            </a:lvl4pPr>
            <a:lvl5pPr marL="1828800" indent="0">
              <a:buNone/>
              <a:defRPr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2" name="Plassholder for loddrett tekst 13">
            <a:extLst>
              <a:ext uri="{FF2B5EF4-FFF2-40B4-BE49-F238E27FC236}">
                <a16:creationId xmlns:a16="http://schemas.microsoft.com/office/drawing/2014/main" id="{AC7B0E44-0B7B-8EBC-D31B-2CFDC94C31A4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3" name="Plassholder for loddrett tekst 16">
            <a:extLst>
              <a:ext uri="{FF2B5EF4-FFF2-40B4-BE49-F238E27FC236}">
                <a16:creationId xmlns:a16="http://schemas.microsoft.com/office/drawing/2014/main" id="{8F3E4783-2AA4-CA3C-BC95-FC8AE583DA54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4" name="Platshållare för bildnummer 4">
            <a:extLst>
              <a:ext uri="{FF2B5EF4-FFF2-40B4-BE49-F238E27FC236}">
                <a16:creationId xmlns:a16="http://schemas.microsoft.com/office/drawing/2014/main" id="{CAAA2CF8-7068-A704-3987-A3D49B2CC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194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e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9472D3-3134-41C7-AAF0-1190A070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827" y="675845"/>
            <a:ext cx="7379292" cy="2222747"/>
          </a:xfrm>
          <a:prstGeom prst="rect">
            <a:avLst/>
          </a:prstGeom>
        </p:spPr>
        <p:txBody>
          <a:bodyPr anchor="b" anchorCtr="0"/>
          <a:lstStyle>
            <a:lvl1pPr>
              <a:defRPr sz="50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D3DDABDA-5B34-4D25-83AA-F4AF489E63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3227027"/>
            <a:ext cx="7379291" cy="2961048"/>
          </a:xfrm>
        </p:spPr>
        <p:txBody>
          <a:bodyPr/>
          <a:lstStyle>
            <a:lvl1pPr>
              <a:defRPr>
                <a:solidFill>
                  <a:srgbClr val="132849"/>
                </a:solidFill>
              </a:defRPr>
            </a:lvl1pPr>
            <a:lvl2pPr>
              <a:defRPr>
                <a:solidFill>
                  <a:srgbClr val="132849"/>
                </a:solidFill>
              </a:defRPr>
            </a:lvl2pPr>
            <a:lvl3pPr>
              <a:defRPr>
                <a:solidFill>
                  <a:srgbClr val="132849"/>
                </a:solidFill>
              </a:defRPr>
            </a:lvl3pPr>
            <a:lvl4pPr>
              <a:defRPr>
                <a:solidFill>
                  <a:srgbClr val="132849"/>
                </a:solidFill>
              </a:defRPr>
            </a:lvl4pPr>
            <a:lvl5pPr>
              <a:defRPr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Plassholder for loddrett tekst 13">
            <a:extLst>
              <a:ext uri="{FF2B5EF4-FFF2-40B4-BE49-F238E27FC236}">
                <a16:creationId xmlns:a16="http://schemas.microsoft.com/office/drawing/2014/main" id="{2740F644-0986-F6A2-6CFB-D25028FB63D5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8" name="Plassholder for loddrett tekst 16">
            <a:extLst>
              <a:ext uri="{FF2B5EF4-FFF2-40B4-BE49-F238E27FC236}">
                <a16:creationId xmlns:a16="http://schemas.microsoft.com/office/drawing/2014/main" id="{32C07A94-77DA-A3EB-5EF2-EA3CD25D2A78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9" name="Platshållare för bildnummer 4">
            <a:extLst>
              <a:ext uri="{FF2B5EF4-FFF2-40B4-BE49-F238E27FC236}">
                <a16:creationId xmlns:a16="http://schemas.microsoft.com/office/drawing/2014/main" id="{0CECCAB4-7883-0D38-53E6-E0CC0C361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1471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e lang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9472D3-3134-41C7-AAF0-1190A070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71286"/>
            <a:ext cx="7920000" cy="432000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D3DDABDA-5B34-4D25-83AA-F4AF489E63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390650"/>
            <a:ext cx="9051925" cy="4775199"/>
          </a:xfrm>
        </p:spPr>
        <p:txBody>
          <a:bodyPr/>
          <a:lstStyle>
            <a:lvl1pPr>
              <a:defRPr>
                <a:solidFill>
                  <a:srgbClr val="132849"/>
                </a:solidFill>
              </a:defRPr>
            </a:lvl1pPr>
            <a:lvl2pPr>
              <a:defRPr>
                <a:solidFill>
                  <a:srgbClr val="132849"/>
                </a:solidFill>
              </a:defRPr>
            </a:lvl2pPr>
            <a:lvl3pPr>
              <a:defRPr>
                <a:solidFill>
                  <a:srgbClr val="132849"/>
                </a:solidFill>
              </a:defRPr>
            </a:lvl3pPr>
            <a:lvl4pPr>
              <a:defRPr>
                <a:solidFill>
                  <a:srgbClr val="132849"/>
                </a:solidFill>
              </a:defRPr>
            </a:lvl4pPr>
            <a:lvl5pPr>
              <a:defRPr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loddrett tekst 13">
            <a:extLst>
              <a:ext uri="{FF2B5EF4-FFF2-40B4-BE49-F238E27FC236}">
                <a16:creationId xmlns:a16="http://schemas.microsoft.com/office/drawing/2014/main" id="{2BD33BC8-14A4-EA3D-E806-54481142820A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1" name="Plassholder for loddrett tekst 16">
            <a:extLst>
              <a:ext uri="{FF2B5EF4-FFF2-40B4-BE49-F238E27FC236}">
                <a16:creationId xmlns:a16="http://schemas.microsoft.com/office/drawing/2014/main" id="{19F98AE4-327D-2AC1-683D-E6546D06B1BE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60745BA9-6A82-7CD5-BBF7-59CF3FF02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73739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rt liste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9472D3-3134-41C7-AAF0-1190A070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827" y="675845"/>
            <a:ext cx="7379292" cy="2222747"/>
          </a:xfrm>
          <a:prstGeom prst="rect">
            <a:avLst/>
          </a:prstGeom>
        </p:spPr>
        <p:txBody>
          <a:bodyPr anchor="b" anchorCtr="0"/>
          <a:lstStyle>
            <a:lvl1pPr>
              <a:defRPr sz="50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FFECB5B1-76FB-4FEF-8763-070AFC1DAD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3227026"/>
            <a:ext cx="7363794" cy="2961048"/>
          </a:xfr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1pPr>
            <a:lvl2pPr marL="9144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2pPr>
            <a:lvl3pPr marL="13716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3pPr>
            <a:lvl4pPr marL="17136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4pPr>
            <a:lvl5pPr marL="21708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loddrett tekst 13">
            <a:extLst>
              <a:ext uri="{FF2B5EF4-FFF2-40B4-BE49-F238E27FC236}">
                <a16:creationId xmlns:a16="http://schemas.microsoft.com/office/drawing/2014/main" id="{C5E23434-1E70-5943-41AB-56E6919A6869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1" name="Plassholder for loddrett tekst 16">
            <a:extLst>
              <a:ext uri="{FF2B5EF4-FFF2-40B4-BE49-F238E27FC236}">
                <a16:creationId xmlns:a16="http://schemas.microsoft.com/office/drawing/2014/main" id="{6212D9D3-CBE8-C5C1-7A2E-2142B80898EA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A65EE189-D7C9-4B19-EBE6-5AC87A7D8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4573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rt liste lang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9472D3-3134-41C7-AAF0-1190A070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71286"/>
            <a:ext cx="7920000" cy="432000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FFECB5B1-76FB-4FEF-8763-070AFC1DAD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390650"/>
            <a:ext cx="9051925" cy="4775199"/>
          </a:xfr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rgbClr val="132849"/>
                </a:solidFill>
              </a:defRPr>
            </a:lvl1pPr>
            <a:lvl2pPr marL="914400" indent="-457200">
              <a:buFont typeface="+mj-lt"/>
              <a:buAutoNum type="alphaLcParenR"/>
              <a:defRPr>
                <a:solidFill>
                  <a:srgbClr val="132849"/>
                </a:solidFill>
              </a:defRPr>
            </a:lvl2pPr>
            <a:lvl3pPr marL="1371600" indent="-457200">
              <a:buFont typeface="+mj-lt"/>
              <a:buAutoNum type="romanLcPeriod"/>
              <a:defRPr>
                <a:solidFill>
                  <a:srgbClr val="132849"/>
                </a:solidFill>
              </a:defRPr>
            </a:lvl3pPr>
            <a:lvl4pPr marL="1713600" indent="-457200">
              <a:buFont typeface="+mj-lt"/>
              <a:buAutoNum type="arabicParenR"/>
              <a:defRPr>
                <a:solidFill>
                  <a:srgbClr val="132849"/>
                </a:solidFill>
              </a:defRPr>
            </a:lvl4pPr>
            <a:lvl5pPr marL="2170800" indent="-457200">
              <a:buFont typeface="+mj-lt"/>
              <a:buAutoNum type="alphaUcPeriod"/>
              <a:defRPr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loddrett tekst 13">
            <a:extLst>
              <a:ext uri="{FF2B5EF4-FFF2-40B4-BE49-F238E27FC236}">
                <a16:creationId xmlns:a16="http://schemas.microsoft.com/office/drawing/2014/main" id="{90B00D12-168C-C3B9-6209-23A47DC25AAA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1" name="Plassholder for loddrett tekst 16">
            <a:extLst>
              <a:ext uri="{FF2B5EF4-FFF2-40B4-BE49-F238E27FC236}">
                <a16:creationId xmlns:a16="http://schemas.microsoft.com/office/drawing/2014/main" id="{3A9BC30D-C169-66AD-FB25-88D9AA941BFF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01CB541C-D6AE-64CE-B8BA-BA101EE16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20784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+datamaskin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D214133D-DD29-4C9B-A568-B2D896FB5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71286"/>
            <a:ext cx="7920000" cy="4320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4BBF87F2-66EB-CEED-1F35-2F02435D93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6676" y="1641882"/>
            <a:ext cx="7920000" cy="4522859"/>
          </a:xfrm>
          <a:prstGeom prst="rect">
            <a:avLst/>
          </a:prstGeom>
        </p:spPr>
      </p:pic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31A026F1-9347-CE17-84A2-6EA2F851BE2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17979" y="1889125"/>
            <a:ext cx="6041192" cy="3724275"/>
          </a:xfr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B7BEB3"/>
                </a:solidFill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B9A89CD6-43EA-6273-36CF-CE1FC2B818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4" y="1641881"/>
            <a:ext cx="2954781" cy="39715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lassholder for loddrett tekst 13">
            <a:extLst>
              <a:ext uri="{FF2B5EF4-FFF2-40B4-BE49-F238E27FC236}">
                <a16:creationId xmlns:a16="http://schemas.microsoft.com/office/drawing/2014/main" id="{18C53555-EAFB-6C11-D1A6-81840032E04F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8" name="Plassholder for loddrett tekst 16">
            <a:extLst>
              <a:ext uri="{FF2B5EF4-FFF2-40B4-BE49-F238E27FC236}">
                <a16:creationId xmlns:a16="http://schemas.microsoft.com/office/drawing/2014/main" id="{6212DCE0-A7F6-A5A8-8B60-2D7E243E73FB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9" name="Platshållare för bildnummer 4">
            <a:extLst>
              <a:ext uri="{FF2B5EF4-FFF2-40B4-BE49-F238E27FC236}">
                <a16:creationId xmlns:a16="http://schemas.microsoft.com/office/drawing/2014/main" id="{5825B049-43C2-6AD5-4EB5-0D7DF5517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2352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- B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46C19E9E-1432-44BD-C707-E1BFB5ED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6350" y="94356"/>
            <a:ext cx="980210" cy="475153"/>
          </a:xfrm>
          <a:prstGeom prst="rect">
            <a:avLst/>
          </a:prstGeom>
        </p:spPr>
      </p:pic>
      <p:sp>
        <p:nvSpPr>
          <p:cNvPr id="14" name="Underrubrik 2">
            <a:extLst>
              <a:ext uri="{FF2B5EF4-FFF2-40B4-BE49-F238E27FC236}">
                <a16:creationId xmlns:a16="http://schemas.microsoft.com/office/drawing/2014/main" id="{5B4042DC-CFB5-47A9-22AE-AEA88DD1CA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845" y="2679229"/>
            <a:ext cx="7860030" cy="17738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3881926-BE16-7B42-3D43-9E0A561DB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4614969"/>
            <a:ext cx="7764734" cy="878865"/>
          </a:xfrm>
          <a:prstGeom prst="rect">
            <a:avLst/>
          </a:prstGeom>
        </p:spPr>
        <p:txBody>
          <a:bodyPr numCol="1"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>
                <a:solidFill>
                  <a:srgbClr val="F1F1F1"/>
                </a:solidFill>
              </a:defRPr>
            </a:lvl1pPr>
            <a:lvl2pPr>
              <a:buFontTx/>
              <a:buNone/>
              <a:defRPr>
                <a:solidFill>
                  <a:schemeClr val="tx1"/>
                </a:solidFill>
              </a:defRPr>
            </a:lvl2pPr>
            <a:lvl3pPr>
              <a:buFontTx/>
              <a:buNone/>
              <a:defRPr>
                <a:solidFill>
                  <a:schemeClr val="tx1"/>
                </a:solidFill>
              </a:defRPr>
            </a:lvl3pPr>
            <a:lvl4pPr>
              <a:buFontTx/>
              <a:buNone/>
              <a:defRPr>
                <a:solidFill>
                  <a:schemeClr val="tx1"/>
                </a:solidFill>
              </a:defRPr>
            </a:lvl4pPr>
            <a:lvl5pPr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err="1"/>
              <a:t>Undertekst</a:t>
            </a:r>
            <a:r>
              <a:rPr lang="en-US"/>
              <a:t>  / </a:t>
            </a:r>
            <a:r>
              <a:rPr lang="en-US" err="1"/>
              <a:t>da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978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8C03311-580F-722E-78C9-D212CB533A6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932229" y="674558"/>
            <a:ext cx="2534061" cy="5508886"/>
          </a:xfrm>
          <a:custGeom>
            <a:avLst/>
            <a:gdLst>
              <a:gd name="connsiteX0" fmla="*/ 0 w 2540834"/>
              <a:gd name="connsiteY0" fmla="*/ 423481 h 5501391"/>
              <a:gd name="connsiteX1" fmla="*/ 423481 w 2540834"/>
              <a:gd name="connsiteY1" fmla="*/ 0 h 5501391"/>
              <a:gd name="connsiteX2" fmla="*/ 2117353 w 2540834"/>
              <a:gd name="connsiteY2" fmla="*/ 0 h 5501391"/>
              <a:gd name="connsiteX3" fmla="*/ 2540834 w 2540834"/>
              <a:gd name="connsiteY3" fmla="*/ 423481 h 5501391"/>
              <a:gd name="connsiteX4" fmla="*/ 2540834 w 2540834"/>
              <a:gd name="connsiteY4" fmla="*/ 5077910 h 5501391"/>
              <a:gd name="connsiteX5" fmla="*/ 2117353 w 2540834"/>
              <a:gd name="connsiteY5" fmla="*/ 5501391 h 5501391"/>
              <a:gd name="connsiteX6" fmla="*/ 423481 w 2540834"/>
              <a:gd name="connsiteY6" fmla="*/ 5501391 h 5501391"/>
              <a:gd name="connsiteX7" fmla="*/ 0 w 2540834"/>
              <a:gd name="connsiteY7" fmla="*/ 5077910 h 5501391"/>
              <a:gd name="connsiteX8" fmla="*/ 0 w 2540834"/>
              <a:gd name="connsiteY8" fmla="*/ 423481 h 5501391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17353 w 2540834"/>
              <a:gd name="connsiteY2" fmla="*/ 0 h 5508886"/>
              <a:gd name="connsiteX3" fmla="*/ 2540834 w 2540834"/>
              <a:gd name="connsiteY3" fmla="*/ 423481 h 5508886"/>
              <a:gd name="connsiteX4" fmla="*/ 2540834 w 2540834"/>
              <a:gd name="connsiteY4" fmla="*/ 5077910 h 5508886"/>
              <a:gd name="connsiteX5" fmla="*/ 2117353 w 2540834"/>
              <a:gd name="connsiteY5" fmla="*/ 5501391 h 5508886"/>
              <a:gd name="connsiteX6" fmla="*/ 348530 w 2540834"/>
              <a:gd name="connsiteY6" fmla="*/ 5508886 h 5508886"/>
              <a:gd name="connsiteX7" fmla="*/ 0 w 2540834"/>
              <a:gd name="connsiteY7" fmla="*/ 5077910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17353 w 2540834"/>
              <a:gd name="connsiteY2" fmla="*/ 0 h 5508886"/>
              <a:gd name="connsiteX3" fmla="*/ 2540834 w 2540834"/>
              <a:gd name="connsiteY3" fmla="*/ 423481 h 5508886"/>
              <a:gd name="connsiteX4" fmla="*/ 2540834 w 2540834"/>
              <a:gd name="connsiteY4" fmla="*/ 5077910 h 5508886"/>
              <a:gd name="connsiteX5" fmla="*/ 2117353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17353 w 2540834"/>
              <a:gd name="connsiteY2" fmla="*/ 0 h 5508886"/>
              <a:gd name="connsiteX3" fmla="*/ 2540834 w 2540834"/>
              <a:gd name="connsiteY3" fmla="*/ 423481 h 5508886"/>
              <a:gd name="connsiteX4" fmla="*/ 2540834 w 2540834"/>
              <a:gd name="connsiteY4" fmla="*/ 5077910 h 5508886"/>
              <a:gd name="connsiteX5" fmla="*/ 2207294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17353 w 2540834"/>
              <a:gd name="connsiteY2" fmla="*/ 0 h 5508886"/>
              <a:gd name="connsiteX3" fmla="*/ 2540834 w 2540834"/>
              <a:gd name="connsiteY3" fmla="*/ 423481 h 5508886"/>
              <a:gd name="connsiteX4" fmla="*/ 2540834 w 2540834"/>
              <a:gd name="connsiteY4" fmla="*/ 5137871 h 5508886"/>
              <a:gd name="connsiteX5" fmla="*/ 2207294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17353 w 2540834"/>
              <a:gd name="connsiteY2" fmla="*/ 0 h 5508886"/>
              <a:gd name="connsiteX3" fmla="*/ 2533339 w 2540834"/>
              <a:gd name="connsiteY3" fmla="*/ 363520 h 5508886"/>
              <a:gd name="connsiteX4" fmla="*/ 2540834 w 2540834"/>
              <a:gd name="connsiteY4" fmla="*/ 5137871 h 5508886"/>
              <a:gd name="connsiteX5" fmla="*/ 2207294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423481 w 2540834"/>
              <a:gd name="connsiteY1" fmla="*/ 0 h 5508886"/>
              <a:gd name="connsiteX2" fmla="*/ 2177314 w 2540834"/>
              <a:gd name="connsiteY2" fmla="*/ 0 h 5508886"/>
              <a:gd name="connsiteX3" fmla="*/ 2533339 w 2540834"/>
              <a:gd name="connsiteY3" fmla="*/ 363520 h 5508886"/>
              <a:gd name="connsiteX4" fmla="*/ 2540834 w 2540834"/>
              <a:gd name="connsiteY4" fmla="*/ 5137871 h 5508886"/>
              <a:gd name="connsiteX5" fmla="*/ 2207294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0 w 2540834"/>
              <a:gd name="connsiteY0" fmla="*/ 423481 h 5508886"/>
              <a:gd name="connsiteX1" fmla="*/ 356025 w 2540834"/>
              <a:gd name="connsiteY1" fmla="*/ 7495 h 5508886"/>
              <a:gd name="connsiteX2" fmla="*/ 2177314 w 2540834"/>
              <a:gd name="connsiteY2" fmla="*/ 0 h 5508886"/>
              <a:gd name="connsiteX3" fmla="*/ 2533339 w 2540834"/>
              <a:gd name="connsiteY3" fmla="*/ 363520 h 5508886"/>
              <a:gd name="connsiteX4" fmla="*/ 2540834 w 2540834"/>
              <a:gd name="connsiteY4" fmla="*/ 5137871 h 5508886"/>
              <a:gd name="connsiteX5" fmla="*/ 2207294 w 2540834"/>
              <a:gd name="connsiteY5" fmla="*/ 5501391 h 5508886"/>
              <a:gd name="connsiteX6" fmla="*/ 348530 w 2540834"/>
              <a:gd name="connsiteY6" fmla="*/ 5508886 h 5508886"/>
              <a:gd name="connsiteX7" fmla="*/ 7495 w 2540834"/>
              <a:gd name="connsiteY7" fmla="*/ 5115385 h 5508886"/>
              <a:gd name="connsiteX8" fmla="*/ 0 w 2540834"/>
              <a:gd name="connsiteY8" fmla="*/ 423481 h 5508886"/>
              <a:gd name="connsiteX0" fmla="*/ 722 w 2534061"/>
              <a:gd name="connsiteY0" fmla="*/ 386005 h 5508886"/>
              <a:gd name="connsiteX1" fmla="*/ 349252 w 2534061"/>
              <a:gd name="connsiteY1" fmla="*/ 7495 h 5508886"/>
              <a:gd name="connsiteX2" fmla="*/ 2170541 w 2534061"/>
              <a:gd name="connsiteY2" fmla="*/ 0 h 5508886"/>
              <a:gd name="connsiteX3" fmla="*/ 2526566 w 2534061"/>
              <a:gd name="connsiteY3" fmla="*/ 363520 h 5508886"/>
              <a:gd name="connsiteX4" fmla="*/ 2534061 w 2534061"/>
              <a:gd name="connsiteY4" fmla="*/ 5137871 h 5508886"/>
              <a:gd name="connsiteX5" fmla="*/ 2200521 w 2534061"/>
              <a:gd name="connsiteY5" fmla="*/ 5501391 h 5508886"/>
              <a:gd name="connsiteX6" fmla="*/ 341757 w 2534061"/>
              <a:gd name="connsiteY6" fmla="*/ 5508886 h 5508886"/>
              <a:gd name="connsiteX7" fmla="*/ 722 w 2534061"/>
              <a:gd name="connsiteY7" fmla="*/ 5115385 h 5508886"/>
              <a:gd name="connsiteX8" fmla="*/ 722 w 2534061"/>
              <a:gd name="connsiteY8" fmla="*/ 386005 h 5508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4061" h="5508886">
                <a:moveTo>
                  <a:pt x="722" y="386005"/>
                </a:moveTo>
                <a:cubicBezTo>
                  <a:pt x="722" y="152123"/>
                  <a:pt x="115370" y="7495"/>
                  <a:pt x="349252" y="7495"/>
                </a:cubicBezTo>
                <a:lnTo>
                  <a:pt x="2170541" y="0"/>
                </a:lnTo>
                <a:cubicBezTo>
                  <a:pt x="2404423" y="0"/>
                  <a:pt x="2526566" y="129638"/>
                  <a:pt x="2526566" y="363520"/>
                </a:cubicBezTo>
                <a:cubicBezTo>
                  <a:pt x="2529064" y="1954970"/>
                  <a:pt x="2531563" y="3546421"/>
                  <a:pt x="2534061" y="5137871"/>
                </a:cubicBezTo>
                <a:cubicBezTo>
                  <a:pt x="2534061" y="5371753"/>
                  <a:pt x="2434403" y="5501391"/>
                  <a:pt x="2200521" y="5501391"/>
                </a:cubicBezTo>
                <a:lnTo>
                  <a:pt x="341757" y="5508886"/>
                </a:lnTo>
                <a:cubicBezTo>
                  <a:pt x="107875" y="5508886"/>
                  <a:pt x="722" y="5349267"/>
                  <a:pt x="722" y="5115385"/>
                </a:cubicBezTo>
                <a:cubicBezTo>
                  <a:pt x="-1776" y="3551417"/>
                  <a:pt x="3220" y="1949973"/>
                  <a:pt x="722" y="386005"/>
                </a:cubicBezTo>
                <a:close/>
              </a:path>
            </a:pathLst>
          </a:cu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Bilde</a:t>
            </a:r>
          </a:p>
        </p:txBody>
      </p:sp>
      <p:sp>
        <p:nvSpPr>
          <p:cNvPr id="47" name="Platshållare för text 8">
            <a:extLst>
              <a:ext uri="{FF2B5EF4-FFF2-40B4-BE49-F238E27FC236}">
                <a16:creationId xmlns:a16="http://schemas.microsoft.com/office/drawing/2014/main" id="{DC59E1E2-0753-924F-BA44-504CFBCC50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4" y="2458229"/>
            <a:ext cx="4639291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EFE5-DC2B-7646-9A3F-3A03279CC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7" y="966220"/>
            <a:ext cx="4652897" cy="1227362"/>
          </a:xfrm>
          <a:prstGeom prst="rect">
            <a:avLst/>
          </a:prstGeom>
        </p:spPr>
        <p:txBody>
          <a:bodyPr anchor="b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3" name="Bilde 2" descr="Et bilde som inneholder Mobiltelefon, skjermbilde, smarttelefon, sort og hvit&#10;&#10;Automatisk generert beskrivelse">
            <a:extLst>
              <a:ext uri="{FF2B5EF4-FFF2-40B4-BE49-F238E27FC236}">
                <a16:creationId xmlns:a16="http://schemas.microsoft.com/office/drawing/2014/main" id="{E41F2526-39D9-9A73-268E-94EBB6727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210" y="215239"/>
            <a:ext cx="4052471" cy="6449137"/>
          </a:xfrm>
          <a:prstGeom prst="rect">
            <a:avLst/>
          </a:prstGeom>
        </p:spPr>
      </p:pic>
      <p:sp>
        <p:nvSpPr>
          <p:cNvPr id="9" name="Plassholder for loddrett tekst 13">
            <a:extLst>
              <a:ext uri="{FF2B5EF4-FFF2-40B4-BE49-F238E27FC236}">
                <a16:creationId xmlns:a16="http://schemas.microsoft.com/office/drawing/2014/main" id="{9718C152-DBFA-76DC-62C6-1A4223E2218C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0" name="Plassholder for loddrett tekst 16">
            <a:extLst>
              <a:ext uri="{FF2B5EF4-FFF2-40B4-BE49-F238E27FC236}">
                <a16:creationId xmlns:a16="http://schemas.microsoft.com/office/drawing/2014/main" id="{32647063-FCE6-50D9-7A47-4289D4DB38B7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1" name="Platshållare för bildnummer 4">
            <a:extLst>
              <a:ext uri="{FF2B5EF4-FFF2-40B4-BE49-F238E27FC236}">
                <a16:creationId xmlns:a16="http://schemas.microsoft.com/office/drawing/2014/main" id="{EACFA0DC-D0A6-F8E6-7561-A21B1B6C1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683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tabell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E9FDF052-2CF7-4153-8B68-FB57B0F2709E}"/>
              </a:ext>
            </a:extLst>
          </p:cNvPr>
          <p:cNvSpPr/>
          <p:nvPr userDrawn="1"/>
        </p:nvSpPr>
        <p:spPr>
          <a:xfrm>
            <a:off x="6096000" y="0"/>
            <a:ext cx="6096000" cy="6857143"/>
          </a:xfrm>
          <a:prstGeom prst="rect">
            <a:avLst/>
          </a:prstGeom>
          <a:solidFill>
            <a:srgbClr val="132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4B2900E-9E02-4BE3-8B06-538FB8D3E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827" y="671995"/>
            <a:ext cx="4740274" cy="2206290"/>
          </a:xfrm>
          <a:prstGeom prst="rect">
            <a:avLst/>
          </a:prstGeom>
        </p:spPr>
        <p:txBody>
          <a:bodyPr anchor="b" anchorCtr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A4B35BC9-B6E5-43B0-A8E6-F047D6D603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9768" y="657225"/>
            <a:ext cx="4726907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7BACDF02-65EB-4B2E-9D65-E83768E701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69100" y="5758226"/>
            <a:ext cx="4727575" cy="9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rgbClr val="F1F1F1"/>
                </a:solidFill>
              </a:defRPr>
            </a:lvl1pPr>
            <a:lvl2pPr marL="457200" indent="0">
              <a:buNone/>
              <a:defRPr sz="1400">
                <a:solidFill>
                  <a:schemeClr val="accent1"/>
                </a:solidFill>
              </a:defRPr>
            </a:lvl2pPr>
            <a:lvl3pPr marL="914400" indent="0">
              <a:buNone/>
              <a:defRPr sz="1400">
                <a:solidFill>
                  <a:schemeClr val="accent1"/>
                </a:solidFill>
              </a:defRPr>
            </a:lvl3pPr>
            <a:lvl4pPr marL="1371600" indent="0">
              <a:buNone/>
              <a:defRPr sz="1200">
                <a:solidFill>
                  <a:schemeClr val="accent1"/>
                </a:solidFill>
              </a:defRPr>
            </a:lvl4pPr>
            <a:lvl5pPr marL="1828800" indent="0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41F4D85-0283-4099-8067-20995D87DB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3" y="3252393"/>
            <a:ext cx="4740272" cy="2550759"/>
          </a:xfrm>
        </p:spPr>
        <p:txBody>
          <a:bodyPr/>
          <a:lstStyle>
            <a:lvl1pPr marL="0" indent="0"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>
                <a:solidFill>
                  <a:srgbClr val="132849"/>
                </a:solidFill>
              </a:defRPr>
            </a:lvl2pPr>
            <a:lvl3pPr marL="914400" indent="0">
              <a:buNone/>
              <a:defRPr sz="1600">
                <a:solidFill>
                  <a:srgbClr val="132849"/>
                </a:solidFill>
              </a:defRPr>
            </a:lvl3pPr>
            <a:lvl4pPr marL="1371600" indent="0">
              <a:buNone/>
              <a:defRPr sz="1600">
                <a:solidFill>
                  <a:srgbClr val="132849"/>
                </a:solidFill>
              </a:defRPr>
            </a:lvl4pPr>
            <a:lvl5pPr marL="1828800" indent="0">
              <a:buNone/>
              <a:defRPr sz="1600">
                <a:solidFill>
                  <a:srgbClr val="13284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Plassholder for tabell 5">
            <a:extLst>
              <a:ext uri="{FF2B5EF4-FFF2-40B4-BE49-F238E27FC236}">
                <a16:creationId xmlns:a16="http://schemas.microsoft.com/office/drawing/2014/main" id="{6E812576-07E0-4B4A-88DB-443D22DC691D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6769100" y="1187449"/>
            <a:ext cx="4733925" cy="4294188"/>
          </a:xfrm>
        </p:spPr>
        <p:txBody>
          <a:bodyPr/>
          <a:lstStyle>
            <a:lvl1pPr>
              <a:defRPr>
                <a:solidFill>
                  <a:srgbClr val="B7BEB3"/>
                </a:solidFill>
              </a:defRPr>
            </a:lvl1pPr>
          </a:lstStyle>
          <a:p>
            <a:r>
              <a:rPr lang="en-US" err="1"/>
              <a:t>Klikk</a:t>
            </a:r>
            <a:r>
              <a:rPr lang="en-US"/>
              <a:t> for </a:t>
            </a:r>
            <a:r>
              <a:rPr lang="en-US" err="1"/>
              <a:t>å</a:t>
            </a:r>
            <a:r>
              <a:rPr lang="en-US"/>
              <a:t>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tabell</a:t>
            </a:r>
            <a:endParaRPr lang="nb-NO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12DAAAF5-1521-C252-C4C7-F0F504482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3784" y="96334"/>
            <a:ext cx="966817" cy="468661"/>
          </a:xfrm>
          <a:prstGeom prst="rect">
            <a:avLst/>
          </a:prstGeom>
        </p:spPr>
      </p:pic>
      <p:sp>
        <p:nvSpPr>
          <p:cNvPr id="5" name="Plassholder for loddrett tekst 13">
            <a:extLst>
              <a:ext uri="{FF2B5EF4-FFF2-40B4-BE49-F238E27FC236}">
                <a16:creationId xmlns:a16="http://schemas.microsoft.com/office/drawing/2014/main" id="{70808A36-0E89-3D19-9039-2A3C2993B095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7" name="Plassholder for loddrett tekst 16">
            <a:extLst>
              <a:ext uri="{FF2B5EF4-FFF2-40B4-BE49-F238E27FC236}">
                <a16:creationId xmlns:a16="http://schemas.microsoft.com/office/drawing/2014/main" id="{4FC4FF68-45E0-DC3E-A135-9B49D8ECE313}"/>
              </a:ext>
            </a:extLst>
          </p:cNvPr>
          <p:cNvSpPr>
            <a:spLocks noGrp="1"/>
          </p:cNvSpPr>
          <p:nvPr>
            <p:ph type="body" orient="vert" sz="quarter" idx="22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9" name="Platshållare för bildnummer 4">
            <a:extLst>
              <a:ext uri="{FF2B5EF4-FFF2-40B4-BE49-F238E27FC236}">
                <a16:creationId xmlns:a16="http://schemas.microsoft.com/office/drawing/2014/main" id="{4345B84C-13F2-1B3A-F0FE-3D8CE2BF1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74955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tat + bilde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472D7EA8-5A45-3C4A-A8F3-5C0329BB5E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9301" y="1893792"/>
            <a:ext cx="4162424" cy="2123571"/>
          </a:xfrm>
          <a:prstGeom prst="rect">
            <a:avLst/>
          </a:prstGeom>
        </p:spPr>
        <p:txBody>
          <a:bodyPr numCol="1" anchor="t"/>
          <a:lstStyle>
            <a:lvl1pPr algn="ctr">
              <a:spcBef>
                <a:spcPts val="0"/>
              </a:spcBef>
              <a:spcAft>
                <a:spcPts val="600"/>
              </a:spcAft>
              <a:buFontTx/>
              <a:buNone/>
              <a:defRPr sz="2400" b="0" i="0">
                <a:solidFill>
                  <a:srgbClr val="F1F1F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Tx/>
              <a:buNone/>
              <a:defRPr>
                <a:solidFill>
                  <a:schemeClr val="tx1"/>
                </a:solidFill>
              </a:defRPr>
            </a:lvl2pPr>
            <a:lvl3pPr>
              <a:buFontTx/>
              <a:buNone/>
              <a:defRPr>
                <a:solidFill>
                  <a:schemeClr val="tx1"/>
                </a:solidFill>
              </a:defRPr>
            </a:lvl3pPr>
            <a:lvl4pPr>
              <a:buFontTx/>
              <a:buNone/>
              <a:defRPr>
                <a:solidFill>
                  <a:schemeClr val="tx1"/>
                </a:solidFill>
              </a:defRPr>
            </a:lvl4pPr>
            <a:lvl5pPr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“</a:t>
            </a:r>
            <a:r>
              <a:rPr lang="en-US" err="1"/>
              <a:t>Sitat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stå</a:t>
            </a:r>
            <a:r>
              <a:rPr lang="en-US"/>
              <a:t> her”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BFE64B5B-AF89-2E40-BB38-405A56AE348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3" name="Rubrik 5">
            <a:extLst>
              <a:ext uri="{FF2B5EF4-FFF2-40B4-BE49-F238E27FC236}">
                <a16:creationId xmlns:a16="http://schemas.microsoft.com/office/drawing/2014/main" id="{D9D98341-C01B-0403-C781-20591090F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99301" y="4482059"/>
            <a:ext cx="4162424" cy="230882"/>
          </a:xfrm>
          <a:prstGeom prst="rect">
            <a:avLst/>
          </a:prstGeom>
        </p:spPr>
        <p:txBody>
          <a:bodyPr anchor="t"/>
          <a:lstStyle>
            <a:lvl1pPr algn="ctr">
              <a:defRPr sz="1000" b="0" i="0">
                <a:solidFill>
                  <a:srgbClr val="C8C0A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– </a:t>
            </a:r>
            <a:r>
              <a:rPr lang="en-US" err="1"/>
              <a:t>Navn</a:t>
            </a:r>
            <a:r>
              <a:rPr lang="en-US"/>
              <a:t> </a:t>
            </a:r>
            <a:r>
              <a:rPr lang="en-US" err="1"/>
              <a:t>Navnesen</a:t>
            </a:r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B55A09BE-289C-3186-EBF0-A94389663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353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 stk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2">
            <a:extLst>
              <a:ext uri="{FF2B5EF4-FFF2-40B4-BE49-F238E27FC236}">
                <a16:creationId xmlns:a16="http://schemas.microsoft.com/office/drawing/2014/main" id="{77B45750-F3CD-4C4E-8E2F-EA82C805E2E6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88975" y="1376363"/>
            <a:ext cx="10814050" cy="4789487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 algn="l">
              <a:buFontTx/>
              <a:buNone/>
              <a:defRPr sz="18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</a:t>
            </a:r>
          </a:p>
        </p:txBody>
      </p:sp>
      <p:sp>
        <p:nvSpPr>
          <p:cNvPr id="11" name="Rubrik 5">
            <a:extLst>
              <a:ext uri="{FF2B5EF4-FFF2-40B4-BE49-F238E27FC236}">
                <a16:creationId xmlns:a16="http://schemas.microsoft.com/office/drawing/2014/main" id="{064D559D-B69D-7742-B8FD-1BEE418B6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60423"/>
            <a:ext cx="7920000" cy="432000"/>
          </a:xfrm>
          <a:prstGeom prst="rect">
            <a:avLst/>
          </a:prstGeo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4" name="Plassholder for loddrett tekst 13">
            <a:extLst>
              <a:ext uri="{FF2B5EF4-FFF2-40B4-BE49-F238E27FC236}">
                <a16:creationId xmlns:a16="http://schemas.microsoft.com/office/drawing/2014/main" id="{2218D378-5B55-856E-4527-57392EC1E2F0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5" name="Plassholder for loddrett tekst 16">
            <a:extLst>
              <a:ext uri="{FF2B5EF4-FFF2-40B4-BE49-F238E27FC236}">
                <a16:creationId xmlns:a16="http://schemas.microsoft.com/office/drawing/2014/main" id="{87823C26-4B1E-2129-6449-A02A4B198709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6" name="Platshållare för bildnummer 4">
            <a:extLst>
              <a:ext uri="{FF2B5EF4-FFF2-40B4-BE49-F238E27FC236}">
                <a16:creationId xmlns:a16="http://schemas.microsoft.com/office/drawing/2014/main" id="{D0418B79-8FE4-1DA0-318F-546B369B7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8329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r 2 stk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5">
            <a:extLst>
              <a:ext uri="{FF2B5EF4-FFF2-40B4-BE49-F238E27FC236}">
                <a16:creationId xmlns:a16="http://schemas.microsoft.com/office/drawing/2014/main" id="{C84D7A06-113C-4548-B5D5-6561CDA17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63415"/>
            <a:ext cx="7920000" cy="432000"/>
          </a:xfrm>
          <a:prstGeom prst="rect">
            <a:avLst/>
          </a:prstGeo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Chart Placeholder 12">
            <a:extLst>
              <a:ext uri="{FF2B5EF4-FFF2-40B4-BE49-F238E27FC236}">
                <a16:creationId xmlns:a16="http://schemas.microsoft.com/office/drawing/2014/main" id="{9742AAED-4E7D-834A-B2E9-F2F4D4A4FEBA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95029" y="1376364"/>
            <a:ext cx="5393034" cy="4792844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1</a:t>
            </a:r>
          </a:p>
        </p:txBody>
      </p:sp>
      <p:sp>
        <p:nvSpPr>
          <p:cNvPr id="10" name="Chart Placeholder 12">
            <a:extLst>
              <a:ext uri="{FF2B5EF4-FFF2-40B4-BE49-F238E27FC236}">
                <a16:creationId xmlns:a16="http://schemas.microsoft.com/office/drawing/2014/main" id="{84F8B28A-579E-1A4D-8246-66E415A26AFD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099786" y="1376364"/>
            <a:ext cx="5393034" cy="4792844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2</a:t>
            </a:r>
          </a:p>
        </p:txBody>
      </p:sp>
      <p:sp>
        <p:nvSpPr>
          <p:cNvPr id="11" name="Plassholder for loddrett tekst 13">
            <a:extLst>
              <a:ext uri="{FF2B5EF4-FFF2-40B4-BE49-F238E27FC236}">
                <a16:creationId xmlns:a16="http://schemas.microsoft.com/office/drawing/2014/main" id="{B2BDFFDF-5E72-8D46-BFBD-A7A7DB2B3666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2" name="Plassholder for loddrett tekst 16">
            <a:extLst>
              <a:ext uri="{FF2B5EF4-FFF2-40B4-BE49-F238E27FC236}">
                <a16:creationId xmlns:a16="http://schemas.microsoft.com/office/drawing/2014/main" id="{FACE07F9-B2AA-F8F6-E5DE-22BBBBA1E44D}"/>
              </a:ext>
            </a:extLst>
          </p:cNvPr>
          <p:cNvSpPr>
            <a:spLocks noGrp="1"/>
          </p:cNvSpPr>
          <p:nvPr>
            <p:ph type="body" orient="vert" sz="quarter" idx="22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3" name="Platshållare för bildnummer 4">
            <a:extLst>
              <a:ext uri="{FF2B5EF4-FFF2-40B4-BE49-F238E27FC236}">
                <a16:creationId xmlns:a16="http://schemas.microsoft.com/office/drawing/2014/main" id="{F8410658-6FB3-A36C-9948-E346D5059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34373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r - tre stk A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12">
            <a:extLst>
              <a:ext uri="{FF2B5EF4-FFF2-40B4-BE49-F238E27FC236}">
                <a16:creationId xmlns:a16="http://schemas.microsoft.com/office/drawing/2014/main" id="{FA55A5D0-0C25-A54D-8051-07A960B2EDB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95460" y="1376362"/>
            <a:ext cx="3598591" cy="47880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1</a:t>
            </a:r>
          </a:p>
        </p:txBody>
      </p:sp>
      <p:sp>
        <p:nvSpPr>
          <p:cNvPr id="8" name="Chart Placeholder 12">
            <a:extLst>
              <a:ext uri="{FF2B5EF4-FFF2-40B4-BE49-F238E27FC236}">
                <a16:creationId xmlns:a16="http://schemas.microsoft.com/office/drawing/2014/main" id="{DF7910CB-7D54-1B46-AEC3-8FF87348A66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4301246" y="1376363"/>
            <a:ext cx="3598591" cy="4789487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2</a:t>
            </a:r>
          </a:p>
        </p:txBody>
      </p:sp>
      <p:sp>
        <p:nvSpPr>
          <p:cNvPr id="9" name="Chart Placeholder 12">
            <a:extLst>
              <a:ext uri="{FF2B5EF4-FFF2-40B4-BE49-F238E27FC236}">
                <a16:creationId xmlns:a16="http://schemas.microsoft.com/office/drawing/2014/main" id="{BF1E938F-1A52-5E4A-AA60-41A87F973AB2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7907031" y="1376363"/>
            <a:ext cx="3598591" cy="47880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3</a:t>
            </a:r>
          </a:p>
        </p:txBody>
      </p:sp>
      <p:sp>
        <p:nvSpPr>
          <p:cNvPr id="12" name="Rubrik 5">
            <a:extLst>
              <a:ext uri="{FF2B5EF4-FFF2-40B4-BE49-F238E27FC236}">
                <a16:creationId xmlns:a16="http://schemas.microsoft.com/office/drawing/2014/main" id="{9417A4C4-78A6-3D40-8B96-01DC12308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60424"/>
            <a:ext cx="7920000" cy="43200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20" name="Plassholder for loddrett tekst 13">
            <a:extLst>
              <a:ext uri="{FF2B5EF4-FFF2-40B4-BE49-F238E27FC236}">
                <a16:creationId xmlns:a16="http://schemas.microsoft.com/office/drawing/2014/main" id="{4FA68321-77DC-4B11-E168-253E4E528912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21" name="Plassholder for loddrett tekst 16">
            <a:extLst>
              <a:ext uri="{FF2B5EF4-FFF2-40B4-BE49-F238E27FC236}">
                <a16:creationId xmlns:a16="http://schemas.microsoft.com/office/drawing/2014/main" id="{0301BE00-3D51-A885-9958-6FEBE9BE9A15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22" name="Platshållare för bildnummer 4">
            <a:extLst>
              <a:ext uri="{FF2B5EF4-FFF2-40B4-BE49-F238E27FC236}">
                <a16:creationId xmlns:a16="http://schemas.microsoft.com/office/drawing/2014/main" id="{02BA743A-6459-A4C5-D77A-4C7787217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6832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r 3 stk B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12">
            <a:extLst>
              <a:ext uri="{FF2B5EF4-FFF2-40B4-BE49-F238E27FC236}">
                <a16:creationId xmlns:a16="http://schemas.microsoft.com/office/drawing/2014/main" id="{01B699E0-A2E9-B047-8B87-163EC605079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95029" y="1376364"/>
            <a:ext cx="5393034" cy="4792844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1</a:t>
            </a:r>
          </a:p>
        </p:txBody>
      </p:sp>
      <p:sp>
        <p:nvSpPr>
          <p:cNvPr id="11" name="Chart Placeholder 12">
            <a:extLst>
              <a:ext uri="{FF2B5EF4-FFF2-40B4-BE49-F238E27FC236}">
                <a16:creationId xmlns:a16="http://schemas.microsoft.com/office/drawing/2014/main" id="{FA32CC36-67E6-A44D-A0D5-6F6559E5FDB7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7883" y="1380236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1</a:t>
            </a:r>
          </a:p>
        </p:txBody>
      </p:sp>
      <p:sp>
        <p:nvSpPr>
          <p:cNvPr id="12" name="Chart Placeholder 12">
            <a:extLst>
              <a:ext uri="{FF2B5EF4-FFF2-40B4-BE49-F238E27FC236}">
                <a16:creationId xmlns:a16="http://schemas.microsoft.com/office/drawing/2014/main" id="{78246BAD-3A9F-CF4B-9D5D-2A99A539320E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097883" y="3786007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3</a:t>
            </a:r>
          </a:p>
        </p:txBody>
      </p:sp>
      <p:sp>
        <p:nvSpPr>
          <p:cNvPr id="14" name="Rubrik 5">
            <a:extLst>
              <a:ext uri="{FF2B5EF4-FFF2-40B4-BE49-F238E27FC236}">
                <a16:creationId xmlns:a16="http://schemas.microsoft.com/office/drawing/2014/main" id="{52A5A894-E5AD-AE44-A59D-0C306F246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60424"/>
            <a:ext cx="7920000" cy="43200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5" name="Platshållare för datum 2">
            <a:extLst>
              <a:ext uri="{FF2B5EF4-FFF2-40B4-BE49-F238E27FC236}">
                <a16:creationId xmlns:a16="http://schemas.microsoft.com/office/drawing/2014/main" id="{044B8EF4-679C-BB65-CC49-2F6F3A27E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481088" y="5468187"/>
            <a:ext cx="972000" cy="180000"/>
          </a:xfrm>
        </p:spPr>
        <p:txBody>
          <a:bodyPr/>
          <a:lstStyle>
            <a:lvl1pPr>
              <a:defRPr/>
            </a:lvl1pPr>
          </a:lstStyle>
          <a:p>
            <a:fld id="{825857BD-6B43-B448-B24C-F3E8A0CADDC0}" type="datetime1">
              <a:rPr lang="nb-NO" smtClean="0"/>
              <a:pPr/>
              <a:t>26.11.2025</a:t>
            </a:fld>
            <a:endParaRPr lang="nb-NO"/>
          </a:p>
        </p:txBody>
      </p:sp>
      <p:sp>
        <p:nvSpPr>
          <p:cNvPr id="16" name="Platshållare för sidfot 3">
            <a:extLst>
              <a:ext uri="{FF2B5EF4-FFF2-40B4-BE49-F238E27FC236}">
                <a16:creationId xmlns:a16="http://schemas.microsoft.com/office/drawing/2014/main" id="{66D2F879-533A-5A4D-E1E7-EA4DDAB2E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1017072" y="3596912"/>
            <a:ext cx="1886400" cy="180000"/>
          </a:xfrm>
        </p:spPr>
        <p:txBody>
          <a:bodyPr/>
          <a:lstStyle>
            <a:lvl1pPr>
              <a:defRPr>
                <a:solidFill>
                  <a:srgbClr val="7D422F"/>
                </a:solidFill>
              </a:defRPr>
            </a:lvl1pPr>
          </a:lstStyle>
          <a:p>
            <a:r>
              <a:rPr lang="nb-NO"/>
              <a:t>TEMA HER</a:t>
            </a:r>
          </a:p>
        </p:txBody>
      </p:sp>
      <p:sp>
        <p:nvSpPr>
          <p:cNvPr id="17" name="Platshållare för bildnummer 4">
            <a:extLst>
              <a:ext uri="{FF2B5EF4-FFF2-40B4-BE49-F238E27FC236}">
                <a16:creationId xmlns:a16="http://schemas.microsoft.com/office/drawing/2014/main" id="{88DB7E5E-8A75-2DEC-D260-8E73AEA35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84250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r 4 stk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ubrik 5">
            <a:extLst>
              <a:ext uri="{FF2B5EF4-FFF2-40B4-BE49-F238E27FC236}">
                <a16:creationId xmlns:a16="http://schemas.microsoft.com/office/drawing/2014/main" id="{8E71C92B-A386-F64A-8FC0-B787EBBD7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660424"/>
            <a:ext cx="7920000" cy="43200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5" name="Chart Placeholder 12">
            <a:extLst>
              <a:ext uri="{FF2B5EF4-FFF2-40B4-BE49-F238E27FC236}">
                <a16:creationId xmlns:a16="http://schemas.microsoft.com/office/drawing/2014/main" id="{BEAB32A2-635B-5644-8085-B5479C6CC462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88975" y="1380236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1</a:t>
            </a:r>
          </a:p>
        </p:txBody>
      </p:sp>
      <p:sp>
        <p:nvSpPr>
          <p:cNvPr id="16" name="Chart Placeholder 12">
            <a:extLst>
              <a:ext uri="{FF2B5EF4-FFF2-40B4-BE49-F238E27FC236}">
                <a16:creationId xmlns:a16="http://schemas.microsoft.com/office/drawing/2014/main" id="{17D9F0B3-C06A-2E42-A711-037E4B0F2C9C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097883" y="1380236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2</a:t>
            </a:r>
          </a:p>
        </p:txBody>
      </p:sp>
      <p:sp>
        <p:nvSpPr>
          <p:cNvPr id="17" name="Chart Placeholder 12">
            <a:extLst>
              <a:ext uri="{FF2B5EF4-FFF2-40B4-BE49-F238E27FC236}">
                <a16:creationId xmlns:a16="http://schemas.microsoft.com/office/drawing/2014/main" id="{AB73352C-5A24-3C4A-B44E-6EC27201719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88975" y="3786007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3</a:t>
            </a:r>
          </a:p>
        </p:txBody>
      </p:sp>
      <p:sp>
        <p:nvSpPr>
          <p:cNvPr id="18" name="Chart Placeholder 12">
            <a:extLst>
              <a:ext uri="{FF2B5EF4-FFF2-40B4-BE49-F238E27FC236}">
                <a16:creationId xmlns:a16="http://schemas.microsoft.com/office/drawing/2014/main" id="{295009AF-56A8-B446-B427-56D02048D4BE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097883" y="3786007"/>
            <a:ext cx="5399088" cy="2383200"/>
          </a:xfrm>
          <a:prstGeom prst="rect">
            <a:avLst/>
          </a:prstGeom>
          <a:pattFill prst="pct5">
            <a:fgClr>
              <a:srgbClr val="F5F3F0"/>
            </a:fgClr>
            <a:bgClr>
              <a:schemeClr val="bg1"/>
            </a:bgClr>
          </a:pattFill>
        </p:spPr>
        <p:txBody>
          <a:bodyPr lIns="0" tIns="36000"/>
          <a:lstStyle>
            <a:lvl1pPr>
              <a:buFontTx/>
              <a:buNone/>
              <a:defRPr sz="1500" b="0" i="0">
                <a:solidFill>
                  <a:srgbClr val="B7BEB3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nb-NO"/>
              <a:t>Chart 4</a:t>
            </a:r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69C95902-463D-93BE-BAFA-3DD7B6022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tshållare för datum 2">
            <a:extLst>
              <a:ext uri="{FF2B5EF4-FFF2-40B4-BE49-F238E27FC236}">
                <a16:creationId xmlns:a16="http://schemas.microsoft.com/office/drawing/2014/main" id="{47C24D86-EBA9-EC5A-0C9F-D9A349293C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481088" y="5468187"/>
            <a:ext cx="972000" cy="180000"/>
          </a:xfrm>
        </p:spPr>
        <p:txBody>
          <a:bodyPr/>
          <a:lstStyle>
            <a:lvl1pPr>
              <a:defRPr/>
            </a:lvl1pPr>
          </a:lstStyle>
          <a:p>
            <a:fld id="{825857BD-6B43-B448-B24C-F3E8A0CADDC0}" type="datetime1">
              <a:rPr lang="nb-NO" smtClean="0"/>
              <a:pPr/>
              <a:t>26.11.2025</a:t>
            </a:fld>
            <a:endParaRPr lang="nb-NO"/>
          </a:p>
        </p:txBody>
      </p:sp>
      <p:sp>
        <p:nvSpPr>
          <p:cNvPr id="19" name="Platshållare för sidfot 3">
            <a:extLst>
              <a:ext uri="{FF2B5EF4-FFF2-40B4-BE49-F238E27FC236}">
                <a16:creationId xmlns:a16="http://schemas.microsoft.com/office/drawing/2014/main" id="{A64173D5-8C84-C1AE-F1CD-599A73EB8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1017072" y="3596912"/>
            <a:ext cx="1886400" cy="180000"/>
          </a:xfrm>
        </p:spPr>
        <p:txBody>
          <a:bodyPr/>
          <a:lstStyle>
            <a:lvl1pPr>
              <a:defRPr>
                <a:solidFill>
                  <a:srgbClr val="7D422F"/>
                </a:solidFill>
              </a:defRPr>
            </a:lvl1pPr>
          </a:lstStyle>
          <a:p>
            <a:r>
              <a:rPr lang="nb-NO"/>
              <a:t>TEMA HER</a:t>
            </a:r>
          </a:p>
        </p:txBody>
      </p:sp>
    </p:spTree>
    <p:extLst>
      <p:ext uri="{BB962C8B-B14F-4D97-AF65-F5344CB8AC3E}">
        <p14:creationId xmlns:p14="http://schemas.microsoft.com/office/powerpoint/2010/main" val="191307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lys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oddrett tekst 13">
            <a:extLst>
              <a:ext uri="{FF2B5EF4-FFF2-40B4-BE49-F238E27FC236}">
                <a16:creationId xmlns:a16="http://schemas.microsoft.com/office/drawing/2014/main" id="{7B1A925F-ED73-824B-CB7E-1818A929E7DC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1" name="Plassholder for loddrett tekst 16">
            <a:extLst>
              <a:ext uri="{FF2B5EF4-FFF2-40B4-BE49-F238E27FC236}">
                <a16:creationId xmlns:a16="http://schemas.microsoft.com/office/drawing/2014/main" id="{81A8C367-B5F3-82F4-EFEC-B0397B372678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4" name="Platshållare för bildnummer 4">
            <a:extLst>
              <a:ext uri="{FF2B5EF4-FFF2-40B4-BE49-F238E27FC236}">
                <a16:creationId xmlns:a16="http://schemas.microsoft.com/office/drawing/2014/main" id="{2E908D37-12E2-0499-62AE-EC309CC19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5822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 - Harris logo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8A8B1E91-8F73-6D44-C3A5-B63A2FBD2F4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30295" y="1770856"/>
            <a:ext cx="6131409" cy="3316287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B7BEB3"/>
                </a:solidFill>
              </a:defRPr>
            </a:lvl1pPr>
          </a:lstStyle>
          <a:p>
            <a:r>
              <a:rPr lang="nb-NO"/>
              <a:t>Logo her</a:t>
            </a:r>
          </a:p>
        </p:txBody>
      </p:sp>
    </p:spTree>
    <p:extLst>
      <p:ext uri="{BB962C8B-B14F-4D97-AF65-F5344CB8AC3E}">
        <p14:creationId xmlns:p14="http://schemas.microsoft.com/office/powerpoint/2010/main" val="1007931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- C">
    <p:bg>
      <p:bgPr>
        <a:solidFill>
          <a:srgbClr val="B7BE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derrubrik 2">
            <a:extLst>
              <a:ext uri="{FF2B5EF4-FFF2-40B4-BE49-F238E27FC236}">
                <a16:creationId xmlns:a16="http://schemas.microsoft.com/office/drawing/2014/main" id="{210AC0F6-1C97-1748-61AE-2162226332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845" y="2679229"/>
            <a:ext cx="7860030" cy="17738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328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52BACC48-6876-D714-0DE3-F499166416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4614969"/>
            <a:ext cx="7764734" cy="878865"/>
          </a:xfrm>
          <a:prstGeom prst="rect">
            <a:avLst/>
          </a:prstGeom>
        </p:spPr>
        <p:txBody>
          <a:bodyPr numCol="1"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>
                <a:solidFill>
                  <a:srgbClr val="132849"/>
                </a:solidFill>
              </a:defRPr>
            </a:lvl1pPr>
            <a:lvl2pPr>
              <a:buFontTx/>
              <a:buNone/>
              <a:defRPr>
                <a:solidFill>
                  <a:schemeClr val="tx1"/>
                </a:solidFill>
              </a:defRPr>
            </a:lvl2pPr>
            <a:lvl3pPr>
              <a:buFontTx/>
              <a:buNone/>
              <a:defRPr>
                <a:solidFill>
                  <a:schemeClr val="tx1"/>
                </a:solidFill>
              </a:defRPr>
            </a:lvl3pPr>
            <a:lvl4pPr>
              <a:buFontTx/>
              <a:buNone/>
              <a:defRPr>
                <a:solidFill>
                  <a:schemeClr val="tx1"/>
                </a:solidFill>
              </a:defRPr>
            </a:lvl4pPr>
            <a:lvl5pPr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err="1"/>
              <a:t>Undertekst</a:t>
            </a:r>
            <a:r>
              <a:rPr lang="en-US"/>
              <a:t>  / </a:t>
            </a:r>
            <a:r>
              <a:rPr lang="en-US" err="1"/>
              <a:t>da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04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fikk 14">
            <a:extLst>
              <a:ext uri="{FF2B5EF4-FFF2-40B4-BE49-F238E27FC236}">
                <a16:creationId xmlns:a16="http://schemas.microsoft.com/office/drawing/2014/main" id="{1B6EFF0C-EB62-0BA7-AB03-BCE8813B92EB}"/>
              </a:ext>
            </a:extLst>
          </p:cNvPr>
          <p:cNvSpPr/>
          <p:nvPr userDrawn="1"/>
        </p:nvSpPr>
        <p:spPr>
          <a:xfrm>
            <a:off x="3275956" y="-40820"/>
            <a:ext cx="9469583" cy="6687778"/>
          </a:xfrm>
          <a:custGeom>
            <a:avLst/>
            <a:gdLst>
              <a:gd name="connsiteX0" fmla="*/ 9469583 w 9469583"/>
              <a:gd name="connsiteY0" fmla="*/ 2810443 h 6687778"/>
              <a:gd name="connsiteX1" fmla="*/ 7757986 w 9469583"/>
              <a:gd name="connsiteY1" fmla="*/ 3621638 h 6687778"/>
              <a:gd name="connsiteX2" fmla="*/ 6446009 w 9469583"/>
              <a:gd name="connsiteY2" fmla="*/ 5129440 h 6687778"/>
              <a:gd name="connsiteX3" fmla="*/ 5443537 w 9469583"/>
              <a:gd name="connsiteY3" fmla="*/ 6193330 h 6687778"/>
              <a:gd name="connsiteX4" fmla="*/ 4188404 w 9469583"/>
              <a:gd name="connsiteY4" fmla="*/ 6659297 h 6687778"/>
              <a:gd name="connsiteX5" fmla="*/ 1690748 w 9469583"/>
              <a:gd name="connsiteY5" fmla="*/ 5869017 h 6687778"/>
              <a:gd name="connsiteX6" fmla="*/ 706591 w 9469583"/>
              <a:gd name="connsiteY6" fmla="*/ 4012057 h 6687778"/>
              <a:gd name="connsiteX7" fmla="*/ 442459 w 9469583"/>
              <a:gd name="connsiteY7" fmla="*/ 2052359 h 6687778"/>
              <a:gd name="connsiteX8" fmla="*/ 0 w 9469583"/>
              <a:gd name="connsiteY8" fmla="*/ 29788 h 6687778"/>
              <a:gd name="connsiteX9" fmla="*/ 1359950 w 9469583"/>
              <a:gd name="connsiteY9" fmla="*/ 0 h 6687778"/>
              <a:gd name="connsiteX10" fmla="*/ 1689671 w 9469583"/>
              <a:gd name="connsiteY10" fmla="*/ 1951712 h 6687778"/>
              <a:gd name="connsiteX11" fmla="*/ 1921863 w 9469583"/>
              <a:gd name="connsiteY11" fmla="*/ 3714173 h 6687778"/>
              <a:gd name="connsiteX12" fmla="*/ 2562548 w 9469583"/>
              <a:gd name="connsiteY12" fmla="*/ 4971244 h 6687778"/>
              <a:gd name="connsiteX13" fmla="*/ 3217555 w 9469583"/>
              <a:gd name="connsiteY13" fmla="*/ 5352916 h 6687778"/>
              <a:gd name="connsiteX14" fmla="*/ 4019963 w 9469583"/>
              <a:gd name="connsiteY14" fmla="*/ 5419148 h 6687778"/>
              <a:gd name="connsiteX15" fmla="*/ 5366287 w 9469583"/>
              <a:gd name="connsiteY15" fmla="*/ 4496848 h 6687778"/>
              <a:gd name="connsiteX16" fmla="*/ 7005705 w 9469583"/>
              <a:gd name="connsiteY16" fmla="*/ 2621571 h 6687778"/>
              <a:gd name="connsiteX17" fmla="*/ 9148987 w 9469583"/>
              <a:gd name="connsiteY17" fmla="*/ 1600716 h 6687778"/>
              <a:gd name="connsiteX18" fmla="*/ 9469583 w 9469583"/>
              <a:gd name="connsiteY18" fmla="*/ 2810379 h 6687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469583" h="6687778">
                <a:moveTo>
                  <a:pt x="9469583" y="2810443"/>
                </a:moveTo>
                <a:cubicBezTo>
                  <a:pt x="8811282" y="2984990"/>
                  <a:pt x="8251395" y="3250297"/>
                  <a:pt x="7757986" y="3621638"/>
                </a:cubicBezTo>
                <a:cubicBezTo>
                  <a:pt x="7241890" y="4009965"/>
                  <a:pt x="6812739" y="4503186"/>
                  <a:pt x="6446009" y="5129440"/>
                </a:cubicBezTo>
                <a:cubicBezTo>
                  <a:pt x="6188214" y="5569611"/>
                  <a:pt x="5850952" y="5927516"/>
                  <a:pt x="5443537" y="6193330"/>
                </a:cubicBezTo>
                <a:cubicBezTo>
                  <a:pt x="5064006" y="6440954"/>
                  <a:pt x="4641699" y="6597692"/>
                  <a:pt x="4188404" y="6659297"/>
                </a:cubicBezTo>
                <a:cubicBezTo>
                  <a:pt x="3263245" y="6785042"/>
                  <a:pt x="2329532" y="6489566"/>
                  <a:pt x="1690748" y="5869017"/>
                </a:cubicBezTo>
                <a:cubicBezTo>
                  <a:pt x="1223384" y="5415028"/>
                  <a:pt x="901458" y="4807598"/>
                  <a:pt x="706591" y="4012057"/>
                </a:cubicBezTo>
                <a:cubicBezTo>
                  <a:pt x="548416" y="3366409"/>
                  <a:pt x="494550" y="2698387"/>
                  <a:pt x="442459" y="2052359"/>
                </a:cubicBezTo>
                <a:cubicBezTo>
                  <a:pt x="375285" y="1218854"/>
                  <a:pt x="305767" y="357081"/>
                  <a:pt x="0" y="29788"/>
                </a:cubicBezTo>
                <a:lnTo>
                  <a:pt x="1359950" y="0"/>
                </a:lnTo>
                <a:cubicBezTo>
                  <a:pt x="1585298" y="696605"/>
                  <a:pt x="1601331" y="856195"/>
                  <a:pt x="1689671" y="1951712"/>
                </a:cubicBezTo>
                <a:cubicBezTo>
                  <a:pt x="1737770" y="2548621"/>
                  <a:pt x="1787516" y="3165876"/>
                  <a:pt x="1921863" y="3714173"/>
                </a:cubicBezTo>
                <a:cubicBezTo>
                  <a:pt x="2059189" y="4274639"/>
                  <a:pt x="2268758" y="4685846"/>
                  <a:pt x="2562548" y="4971244"/>
                </a:cubicBezTo>
                <a:cubicBezTo>
                  <a:pt x="2738784" y="5142433"/>
                  <a:pt x="2965273" y="5274452"/>
                  <a:pt x="3217555" y="5352916"/>
                </a:cubicBezTo>
                <a:cubicBezTo>
                  <a:pt x="3474082" y="5432711"/>
                  <a:pt x="3751585" y="5455654"/>
                  <a:pt x="4019963" y="5419148"/>
                </a:cubicBezTo>
                <a:cubicBezTo>
                  <a:pt x="4584792" y="5342395"/>
                  <a:pt x="5062929" y="5014849"/>
                  <a:pt x="5366287" y="4496848"/>
                </a:cubicBezTo>
                <a:cubicBezTo>
                  <a:pt x="5812105" y="3735595"/>
                  <a:pt x="6363689" y="3104651"/>
                  <a:pt x="7005705" y="2621571"/>
                </a:cubicBezTo>
                <a:cubicBezTo>
                  <a:pt x="7621928" y="2157886"/>
                  <a:pt x="8343031" y="1814368"/>
                  <a:pt x="9148987" y="1600716"/>
                </a:cubicBezTo>
                <a:lnTo>
                  <a:pt x="9469583" y="2810379"/>
                </a:lnTo>
                <a:close/>
              </a:path>
            </a:pathLst>
          </a:custGeom>
          <a:solidFill>
            <a:srgbClr val="1D3B54"/>
          </a:solidFill>
          <a:ln w="6331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FB28A1B-292B-2E1E-7003-6FF19052D3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9870" y="318499"/>
            <a:ext cx="5239820" cy="1993186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49892660-5E2C-C12B-8B65-AB376B939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9870" y="2492429"/>
            <a:ext cx="5239820" cy="81585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28BE6AE-7A10-6738-A788-3E61ABA23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86950" y="6286501"/>
            <a:ext cx="2012568" cy="266764"/>
          </a:xfrm>
        </p:spPr>
        <p:txBody>
          <a:bodyPr/>
          <a:lstStyle>
            <a:lvl1pPr algn="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nb-NO"/>
              <a:t>Bergen, 24. april 2025</a:t>
            </a:r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6C65C1C6-6EF2-A2BC-4F60-AAA10427C6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2125" y="6065399"/>
            <a:ext cx="1587500" cy="415976"/>
          </a:xfrm>
          <a:prstGeom prst="rect">
            <a:avLst/>
          </a:prstGeom>
        </p:spPr>
      </p:pic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BF14F147-D89F-8418-9EDB-5B6174EF61E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12517" y="459534"/>
            <a:ext cx="5887357" cy="5887357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74707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A4E47CBA-35F7-8005-A356-A512B5484F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9CCC5849-077E-E780-93A4-F34126470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90" y="365125"/>
            <a:ext cx="10366568" cy="132556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34A1C5C-3B23-2BB1-8BD6-041239FE25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290" y="1944000"/>
            <a:ext cx="10366567" cy="3641271"/>
          </a:xfrm>
        </p:spPr>
        <p:txBody>
          <a:bodyPr numCol="2" spcCol="360000">
            <a:norm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lnSpc>
                <a:spcPct val="110000"/>
              </a:lnSpc>
              <a:buNone/>
              <a:defRPr sz="1600"/>
            </a:lvl2pPr>
            <a:lvl3pPr marL="914400" indent="0">
              <a:lnSpc>
                <a:spcPct val="110000"/>
              </a:lnSpc>
              <a:buNone/>
              <a:defRPr sz="1600"/>
            </a:lvl3pPr>
            <a:lvl4pPr marL="1371600" indent="0">
              <a:lnSpc>
                <a:spcPct val="110000"/>
              </a:lnSpc>
              <a:buNone/>
              <a:defRPr sz="1600"/>
            </a:lvl4pPr>
            <a:lvl5pPr marL="1828800" indent="0">
              <a:lnSpc>
                <a:spcPct val="110000"/>
              </a:lnSpc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C08C05BA-189F-4075-9A92-941B019402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2125" y="6065399"/>
            <a:ext cx="1587500" cy="41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6973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CC5849-077E-E780-93A4-F34126470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90" y="365125"/>
            <a:ext cx="4986303" cy="132556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34A1C5C-3B23-2BB1-8BD6-041239FE25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290" y="1944000"/>
            <a:ext cx="4986303" cy="3641271"/>
          </a:xfrm>
        </p:spPr>
        <p:txBody>
          <a:bodyPr numCol="1">
            <a:normAutofit/>
          </a:bodyPr>
          <a:lstStyle>
            <a:lvl1pPr>
              <a:lnSpc>
                <a:spcPct val="110000"/>
              </a:lnSpc>
              <a:defRPr sz="1600">
                <a:solidFill>
                  <a:schemeClr val="accent1"/>
                </a:solidFill>
              </a:defRPr>
            </a:lvl1pPr>
            <a:lvl2pPr>
              <a:lnSpc>
                <a:spcPct val="110000"/>
              </a:lnSpc>
              <a:defRPr sz="1600">
                <a:solidFill>
                  <a:schemeClr val="accent1"/>
                </a:solidFill>
              </a:defRPr>
            </a:lvl2pPr>
            <a:lvl3pPr>
              <a:lnSpc>
                <a:spcPct val="110000"/>
              </a:lnSpc>
              <a:defRPr sz="1600">
                <a:solidFill>
                  <a:schemeClr val="accent1"/>
                </a:solidFill>
              </a:defRPr>
            </a:lvl3pPr>
            <a:lvl4pPr>
              <a:lnSpc>
                <a:spcPct val="110000"/>
              </a:lnSpc>
              <a:defRPr sz="1600">
                <a:solidFill>
                  <a:schemeClr val="accent1"/>
                </a:solidFill>
              </a:defRPr>
            </a:lvl4pPr>
            <a:lvl5pPr>
              <a:lnSpc>
                <a:spcPct val="110000"/>
              </a:lnSpc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C08C05BA-189F-4075-9A92-941B019402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2125" y="6065399"/>
            <a:ext cx="1587500" cy="415975"/>
          </a:xfrm>
          <a:prstGeom prst="rect">
            <a:avLst/>
          </a:prstGeom>
        </p:spPr>
      </p:pic>
      <p:sp>
        <p:nvSpPr>
          <p:cNvPr id="5" name="Avrundet rektangel 4">
            <a:extLst>
              <a:ext uri="{FF2B5EF4-FFF2-40B4-BE49-F238E27FC236}">
                <a16:creationId xmlns:a16="http://schemas.microsoft.com/office/drawing/2014/main" id="{9D8161FA-5E0C-F2C5-6E21-4D906A41B1ED}"/>
              </a:ext>
            </a:extLst>
          </p:cNvPr>
          <p:cNvSpPr/>
          <p:nvPr userDrawn="1"/>
        </p:nvSpPr>
        <p:spPr>
          <a:xfrm>
            <a:off x="6795407" y="412431"/>
            <a:ext cx="4986303" cy="6033138"/>
          </a:xfrm>
          <a:prstGeom prst="roundRect">
            <a:avLst>
              <a:gd name="adj" fmla="val 1696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accent1"/>
              </a:solidFill>
            </a:endParaRPr>
          </a:p>
        </p:txBody>
      </p:sp>
      <p:sp>
        <p:nvSpPr>
          <p:cNvPr id="9" name="Plassholder for diagram 8">
            <a:extLst>
              <a:ext uri="{FF2B5EF4-FFF2-40B4-BE49-F238E27FC236}">
                <a16:creationId xmlns:a16="http://schemas.microsoft.com/office/drawing/2014/main" id="{80DA64CF-E9C8-B603-3D24-36785C3A596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029545" y="655171"/>
            <a:ext cx="4518025" cy="3908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tabell 10">
            <a:extLst>
              <a:ext uri="{FF2B5EF4-FFF2-40B4-BE49-F238E27FC236}">
                <a16:creationId xmlns:a16="http://schemas.microsoft.com/office/drawing/2014/main" id="{7F33129A-CF49-0CA7-7643-75A6D3317AD8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029545" y="4806337"/>
            <a:ext cx="4518025" cy="13964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98788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06CF9FBA-9E23-EAF1-008B-4BA07E760C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82553" y="2953819"/>
            <a:ext cx="3626894" cy="95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32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+ brødtekst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9472D3-3134-41C7-AAF0-1190A070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975" y="685800"/>
            <a:ext cx="7379292" cy="2222747"/>
          </a:xfrm>
          <a:prstGeom prst="rect">
            <a:avLst/>
          </a:prstGeom>
        </p:spPr>
        <p:txBody>
          <a:bodyPr anchor="b" anchorCtr="0"/>
          <a:lstStyle>
            <a:lvl1pPr>
              <a:defRPr sz="50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06E47F8-3528-4498-81E5-136BCAF3B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25012842-A95B-46C3-A3CD-CBC3E96D94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3227027"/>
            <a:ext cx="7379292" cy="2961048"/>
          </a:xfrm>
          <a:prstGeom prst="rect">
            <a:avLst/>
          </a:prstGeom>
        </p:spPr>
        <p:txBody>
          <a:bodyPr numCol="1"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>
                <a:solidFill>
                  <a:srgbClr val="132849"/>
                </a:solidFill>
              </a:defRPr>
            </a:lvl1pPr>
            <a:lvl2pPr>
              <a:buFontTx/>
              <a:buNone/>
              <a:defRPr>
                <a:solidFill>
                  <a:schemeClr val="tx1"/>
                </a:solidFill>
              </a:defRPr>
            </a:lvl2pPr>
            <a:lvl3pPr>
              <a:buFontTx/>
              <a:buNone/>
              <a:defRPr>
                <a:solidFill>
                  <a:schemeClr val="tx1"/>
                </a:solidFill>
              </a:defRPr>
            </a:lvl3pPr>
            <a:lvl4pPr>
              <a:buFontTx/>
              <a:buNone/>
              <a:defRPr>
                <a:solidFill>
                  <a:schemeClr val="tx1"/>
                </a:solidFill>
              </a:defRPr>
            </a:lvl4pPr>
            <a:lvl5pPr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loddrett tekst 13">
            <a:extLst>
              <a:ext uri="{FF2B5EF4-FFF2-40B4-BE49-F238E27FC236}">
                <a16:creationId xmlns:a16="http://schemas.microsoft.com/office/drawing/2014/main" id="{70352E10-7F49-1C27-222C-76A83FEB7F41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8" name="Plassholder for loddrett tekst 16">
            <a:extLst>
              <a:ext uri="{FF2B5EF4-FFF2-40B4-BE49-F238E27FC236}">
                <a16:creationId xmlns:a16="http://schemas.microsoft.com/office/drawing/2014/main" id="{41500578-A87E-5F80-4B3C-DC832A102FFC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4438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ilde til høyre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05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13284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 10">
            <a:extLst>
              <a:ext uri="{FF2B5EF4-FFF2-40B4-BE49-F238E27FC236}">
                <a16:creationId xmlns:a16="http://schemas.microsoft.com/office/drawing/2014/main" id="{10A26192-41E1-054C-955B-AA84A3B669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0800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6" name="Platshållare för text 8">
            <a:extLst>
              <a:ext uri="{FF2B5EF4-FFF2-40B4-BE49-F238E27FC236}">
                <a16:creationId xmlns:a16="http://schemas.microsoft.com/office/drawing/2014/main" id="{50B29B8F-702A-ED4A-B290-2A29373BA6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86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998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ilde til venstre">
    <p:bg>
      <p:bgPr>
        <a:solidFill>
          <a:srgbClr val="F5F3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93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6B59E1A-476D-4361-B790-FEA264511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749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F834DD2B-B953-4507-B91F-7303E9259A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8" name="Plassholder for loddrett tekst 13">
            <a:extLst>
              <a:ext uri="{FF2B5EF4-FFF2-40B4-BE49-F238E27FC236}">
                <a16:creationId xmlns:a16="http://schemas.microsoft.com/office/drawing/2014/main" id="{88BB6DBF-7A3F-B4B0-430F-0B61AF946651}"/>
              </a:ext>
            </a:extLst>
          </p:cNvPr>
          <p:cNvSpPr>
            <a:spLocks noGrp="1"/>
          </p:cNvSpPr>
          <p:nvPr>
            <p:ph type="body" orient="vert" sz="quarter" idx="20" hasCustomPrompt="1"/>
          </p:nvPr>
        </p:nvSpPr>
        <p:spPr>
          <a:xfrm rot="10800000">
            <a:off x="11894318" y="2751146"/>
            <a:ext cx="155954" cy="1886400"/>
          </a:xfrm>
        </p:spPr>
        <p:txBody>
          <a:bodyPr vert="eaVert"/>
          <a:lstStyle>
            <a:lvl1pPr marL="0" indent="0" algn="r">
              <a:buNone/>
              <a:defRPr sz="1000" b="0" i="0">
                <a:solidFill>
                  <a:srgbClr val="7D422F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pPr lvl="0"/>
            <a:r>
              <a:rPr lang="nb-NO"/>
              <a:t>TEMA HER</a:t>
            </a:r>
          </a:p>
        </p:txBody>
      </p:sp>
      <p:sp>
        <p:nvSpPr>
          <p:cNvPr id="10" name="Plassholder for loddrett tekst 16">
            <a:extLst>
              <a:ext uri="{FF2B5EF4-FFF2-40B4-BE49-F238E27FC236}">
                <a16:creationId xmlns:a16="http://schemas.microsoft.com/office/drawing/2014/main" id="{31D9BBC2-75E2-0769-1E42-89242DFECC34}"/>
              </a:ext>
            </a:extLst>
          </p:cNvPr>
          <p:cNvSpPr>
            <a:spLocks noGrp="1"/>
          </p:cNvSpPr>
          <p:nvPr>
            <p:ph type="body" orient="vert" sz="quarter" idx="21" hasCustomPrompt="1"/>
          </p:nvPr>
        </p:nvSpPr>
        <p:spPr>
          <a:xfrm rot="10800000">
            <a:off x="11894318" y="5182175"/>
            <a:ext cx="155954" cy="862012"/>
          </a:xfrm>
        </p:spPr>
        <p:txBody>
          <a:bodyPr vert="eaVert"/>
          <a:lstStyle>
            <a:lvl1pPr marL="0" indent="0">
              <a:buNone/>
              <a:defRPr sz="1000" b="0" i="0">
                <a:solidFill>
                  <a:srgbClr val="B7BEB3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pPr lvl="0"/>
            <a:fld id="{B1533AAD-7FA8-404C-8336-56975DC6914A}" type="datetime1">
              <a:rPr lang="nb-NO" smtClean="0"/>
              <a:t>08.06.2023</a:t>
            </a:fld>
            <a:endParaRPr lang="nb-NO"/>
          </a:p>
        </p:txBody>
      </p:sp>
      <p:sp>
        <p:nvSpPr>
          <p:cNvPr id="12" name="Platshållare för bildnummer 4">
            <a:extLst>
              <a:ext uri="{FF2B5EF4-FFF2-40B4-BE49-F238E27FC236}">
                <a16:creationId xmlns:a16="http://schemas.microsoft.com/office/drawing/2014/main" id="{3BBDEFD6-06A4-96FD-FED8-4EF1511B8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127" y="6521775"/>
            <a:ext cx="795715" cy="180000"/>
          </a:xfrm>
        </p:spPr>
        <p:txBody>
          <a:bodyPr/>
          <a:lstStyle>
            <a:lvl1pPr>
              <a:defRPr b="0" i="0">
                <a:solidFill>
                  <a:srgbClr val="B7BEB3"/>
                </a:solidFill>
                <a:latin typeface="Sora Light" pitchFamily="2" charset="0"/>
                <a:cs typeface="Sora Light" pitchFamily="2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7768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ilde til høyre 2">
    <p:bg>
      <p:bgPr>
        <a:solidFill>
          <a:srgbClr val="132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05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B7BEB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 10">
            <a:extLst>
              <a:ext uri="{FF2B5EF4-FFF2-40B4-BE49-F238E27FC236}">
                <a16:creationId xmlns:a16="http://schemas.microsoft.com/office/drawing/2014/main" id="{10A26192-41E1-054C-955B-AA84A3B669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0800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6" name="Platshållare för text 8">
            <a:extLst>
              <a:ext uri="{FF2B5EF4-FFF2-40B4-BE49-F238E27FC236}">
                <a16:creationId xmlns:a16="http://schemas.microsoft.com/office/drawing/2014/main" id="{50B29B8F-702A-ED4A-B290-2A29373BA6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86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F1F1F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211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til høyre lys bg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05" y="722339"/>
            <a:ext cx="4140000" cy="2169997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7D422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 10">
            <a:extLst>
              <a:ext uri="{FF2B5EF4-FFF2-40B4-BE49-F238E27FC236}">
                <a16:creationId xmlns:a16="http://schemas.microsoft.com/office/drawing/2014/main" id="{10A26192-41E1-054C-955B-AA84A3B669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0800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6" name="Platshållare för text 8">
            <a:extLst>
              <a:ext uri="{FF2B5EF4-FFF2-40B4-BE49-F238E27FC236}">
                <a16:creationId xmlns:a16="http://schemas.microsoft.com/office/drawing/2014/main" id="{50B29B8F-702A-ED4A-B290-2A29373BA6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863" y="3098800"/>
            <a:ext cx="4140000" cy="3088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9757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presentasjon 2 pers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FD66F34-FFE2-44A2-BFD8-CF51F150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05" y="914400"/>
            <a:ext cx="4140000" cy="1361294"/>
          </a:xfrm>
          <a:prstGeom prst="rect">
            <a:avLst/>
          </a:prstGeom>
        </p:spPr>
        <p:txBody>
          <a:bodyPr anchor="b" anchorCtr="0"/>
          <a:lstStyle>
            <a:lvl1pPr>
              <a:defRPr sz="3600">
                <a:solidFill>
                  <a:srgbClr val="7D422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tshållare för bild 10">
            <a:extLst>
              <a:ext uri="{FF2B5EF4-FFF2-40B4-BE49-F238E27FC236}">
                <a16:creationId xmlns:a16="http://schemas.microsoft.com/office/drawing/2014/main" id="{10A26192-41E1-054C-955B-AA84A3B669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08000" y="0"/>
            <a:ext cx="6084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bIns="1080000" anchor="ctr" anchorCtr="0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Bilde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C444C666-D9C1-84CB-3FD6-33CE856DCB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89" y="5724161"/>
            <a:ext cx="2108431" cy="2194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32849"/>
                </a:solidFill>
              </a:defRPr>
            </a:lvl1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65E2FC41-55F2-CB72-0033-6E993B02F4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988" y="5982659"/>
            <a:ext cx="2108431" cy="210861"/>
          </a:xfrm>
        </p:spPr>
        <p:txBody>
          <a:bodyPr/>
          <a:lstStyle>
            <a:lvl1pPr marL="0" indent="0" algn="ctr">
              <a:buNone/>
              <a:defRPr sz="1050">
                <a:solidFill>
                  <a:srgbClr val="A56A57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1E3DF5C6-F4AD-2470-A07D-F5B87D9A75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82259" y="5724161"/>
            <a:ext cx="2108431" cy="2194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32849"/>
                </a:solidFill>
              </a:defRPr>
            </a:lvl1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7" name="Plassholder for tekst 13">
            <a:extLst>
              <a:ext uri="{FF2B5EF4-FFF2-40B4-BE49-F238E27FC236}">
                <a16:creationId xmlns:a16="http://schemas.microsoft.com/office/drawing/2014/main" id="{CA523EBE-A991-0576-A4A1-4280FB9340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82258" y="5982659"/>
            <a:ext cx="2108431" cy="210861"/>
          </a:xfrm>
        </p:spPr>
        <p:txBody>
          <a:bodyPr/>
          <a:lstStyle>
            <a:lvl1pPr marL="0" indent="0" algn="ctr">
              <a:buNone/>
              <a:defRPr sz="1050">
                <a:solidFill>
                  <a:srgbClr val="A56A57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8" name="Platshållare för text 8">
            <a:extLst>
              <a:ext uri="{FF2B5EF4-FFF2-40B4-BE49-F238E27FC236}">
                <a16:creationId xmlns:a16="http://schemas.microsoft.com/office/drawing/2014/main" id="{21D7DFFF-5A04-A75B-B341-8627348F1B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863" y="2426801"/>
            <a:ext cx="4140000" cy="1290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>
                <a:solidFill>
                  <a:srgbClr val="13284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bilde 19">
            <a:extLst>
              <a:ext uri="{FF2B5EF4-FFF2-40B4-BE49-F238E27FC236}">
                <a16:creationId xmlns:a16="http://schemas.microsoft.com/office/drawing/2014/main" id="{7E179D10-A9E9-BCFA-BACA-BF854FFC6BC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40709" y="4031490"/>
            <a:ext cx="1550987" cy="1550987"/>
          </a:xfrm>
          <a:prstGeom prst="ellipse">
            <a:avLst/>
          </a:prstGeom>
          <a:pattFill prst="pct5">
            <a:fgClr>
              <a:srgbClr val="F1F1F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B7BEB3"/>
                </a:solidFill>
              </a:defRPr>
            </a:lvl1pPr>
          </a:lstStyle>
          <a:p>
            <a:endParaRPr lang="nb-NO"/>
          </a:p>
        </p:txBody>
      </p:sp>
      <p:sp>
        <p:nvSpPr>
          <p:cNvPr id="22" name="Plassholder for bilde 19">
            <a:extLst>
              <a:ext uri="{FF2B5EF4-FFF2-40B4-BE49-F238E27FC236}">
                <a16:creationId xmlns:a16="http://schemas.microsoft.com/office/drawing/2014/main" id="{74302610-20CF-E7BD-321C-B147DB5CFCA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60979" y="4031489"/>
            <a:ext cx="1550987" cy="1550987"/>
          </a:xfrm>
          <a:prstGeom prst="ellipse">
            <a:avLst/>
          </a:prstGeom>
          <a:pattFill prst="pct5">
            <a:fgClr>
              <a:srgbClr val="F1F1F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B7BEB3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5708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07D54BB-8EC7-458A-A082-8AF4306364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1481088" y="5468187"/>
            <a:ext cx="972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0" i="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D3AA637-8B2B-8A4C-820F-90555BD2B34A}" type="datetime1">
              <a:rPr lang="nb-NO" smtClean="0"/>
              <a:pPr/>
              <a:t>26.11.2025</a:t>
            </a:fld>
            <a:endParaRPr lang="nb-NO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C0A3ABB-C906-40E9-AF35-0DB0B3403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11017072" y="3596912"/>
            <a:ext cx="18864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en-GB" sz="1000" b="0" i="0" kern="1200" cap="all" baseline="0" smtClean="0">
                <a:solidFill>
                  <a:srgbClr val="7D422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/>
              <a:t>Tema her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7249AA9-CC7D-40E0-9894-3652F2EE8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7643" y="6521775"/>
            <a:ext cx="27432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rgbClr val="B7BE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ittel 7">
            <a:extLst>
              <a:ext uri="{FF2B5EF4-FFF2-40B4-BE49-F238E27FC236}">
                <a16:creationId xmlns:a16="http://schemas.microsoft.com/office/drawing/2014/main" id="{F7F4A3A2-069C-485C-BBF1-984B9DA27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8" y="1376363"/>
            <a:ext cx="6633482" cy="1500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5099F40-52B7-4D43-8814-CC5326E482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3050" y="3260879"/>
            <a:ext cx="6633482" cy="2929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01A20BAF-2AF7-2A09-42DF-2EE65A3F98B7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1136350" y="94356"/>
            <a:ext cx="980210" cy="475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698" r:id="rId2"/>
    <p:sldLayoutId id="2147483664" r:id="rId3"/>
    <p:sldLayoutId id="2147483688" r:id="rId4"/>
    <p:sldLayoutId id="2147483667" r:id="rId5"/>
    <p:sldLayoutId id="2147483659" r:id="rId6"/>
    <p:sldLayoutId id="2147483723" r:id="rId7"/>
    <p:sldLayoutId id="2147483734" r:id="rId8"/>
    <p:sldLayoutId id="2147483739" r:id="rId9"/>
    <p:sldLayoutId id="2147483735" r:id="rId10"/>
    <p:sldLayoutId id="2147483725" r:id="rId11"/>
    <p:sldLayoutId id="2147483728" r:id="rId12"/>
    <p:sldLayoutId id="2147483736" r:id="rId13"/>
    <p:sldLayoutId id="2147483720" r:id="rId14"/>
    <p:sldLayoutId id="2147483660" r:id="rId15"/>
    <p:sldLayoutId id="2147483726" r:id="rId16"/>
    <p:sldLayoutId id="2147483661" r:id="rId17"/>
    <p:sldLayoutId id="2147483727" r:id="rId18"/>
    <p:sldLayoutId id="2147483669" r:id="rId19"/>
    <p:sldLayoutId id="2147483680" r:id="rId20"/>
    <p:sldLayoutId id="2147483663" r:id="rId21"/>
    <p:sldLayoutId id="2147483733" r:id="rId22"/>
    <p:sldLayoutId id="2147483687" r:id="rId23"/>
    <p:sldLayoutId id="2147483683" r:id="rId24"/>
    <p:sldLayoutId id="2147483685" r:id="rId25"/>
    <p:sldLayoutId id="2147483686" r:id="rId26"/>
    <p:sldLayoutId id="2147483684" r:id="rId27"/>
    <p:sldLayoutId id="2147483673" r:id="rId28"/>
    <p:sldLayoutId id="2147483738" r:id="rId29"/>
    <p:sldLayoutId id="2147483740" r:id="rId30"/>
    <p:sldLayoutId id="2147483741" r:id="rId31"/>
    <p:sldLayoutId id="2147483742" r:id="rId32"/>
    <p:sldLayoutId id="2147483743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sv-SE" sz="5000" b="0" i="0" kern="1200" dirty="0">
          <a:solidFill>
            <a:srgbClr val="1328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rgbClr val="13284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rgbClr val="13284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rgbClr val="13284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rgbClr val="13284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rgbClr val="13284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lang="sv-SE" sz="18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115" userDrawn="1">
          <p15:clr>
            <a:srgbClr val="F26B43"/>
          </p15:clr>
        </p15:guide>
        <p15:guide id="4" pos="767" userDrawn="1">
          <p15:clr>
            <a:srgbClr val="F26B43"/>
          </p15:clr>
        </p15:guide>
        <p15:guide id="5" pos="1531" userDrawn="1">
          <p15:clr>
            <a:srgbClr val="F26B43"/>
          </p15:clr>
        </p15:guide>
        <p15:guide id="6" pos="2301" userDrawn="1">
          <p15:clr>
            <a:srgbClr val="F26B43"/>
          </p15:clr>
        </p15:guide>
        <p15:guide id="7" pos="3067" userDrawn="1">
          <p15:clr>
            <a:srgbClr val="F26B43"/>
          </p15:clr>
        </p15:guide>
        <p15:guide id="8" pos="3835" userDrawn="1">
          <p15:clr>
            <a:srgbClr val="F26B43"/>
          </p15:clr>
        </p15:guide>
        <p15:guide id="9" pos="4608" userDrawn="1">
          <p15:clr>
            <a:srgbClr val="F26B43"/>
          </p15:clr>
        </p15:guide>
        <p15:guide id="10" pos="5370" userDrawn="1">
          <p15:clr>
            <a:srgbClr val="F26B43"/>
          </p15:clr>
        </p15:guide>
        <p15:guide id="11" pos="6140" userDrawn="1">
          <p15:clr>
            <a:srgbClr val="F26B43"/>
          </p15:clr>
        </p15:guide>
        <p15:guide id="12" pos="6912" userDrawn="1">
          <p15:clr>
            <a:srgbClr val="F26B43"/>
          </p15:clr>
        </p15:guide>
        <p15:guide id="13" pos="7566" userDrawn="1">
          <p15:clr>
            <a:srgbClr val="F26B43"/>
          </p15:clr>
        </p15:guide>
        <p15:guide id="14" orient="horz" userDrawn="1">
          <p15:clr>
            <a:srgbClr val="F26B43"/>
          </p15:clr>
        </p15:guide>
        <p15:guide id="15" orient="horz" pos="4320" userDrawn="1">
          <p15:clr>
            <a:srgbClr val="F26B43"/>
          </p15:clr>
        </p15:guide>
        <p15:guide id="16" orient="horz" pos="113" userDrawn="1">
          <p15:clr>
            <a:srgbClr val="F26B43"/>
          </p15:clr>
        </p15:guide>
        <p15:guide id="17" orient="horz" pos="432" userDrawn="1">
          <p15:clr>
            <a:srgbClr val="F26B43"/>
          </p15:clr>
        </p15:guide>
        <p15:guide id="18" orient="horz" pos="867" userDrawn="1">
          <p15:clr>
            <a:srgbClr val="F26B43"/>
          </p15:clr>
        </p15:guide>
        <p15:guide id="19" orient="horz" pos="1298" userDrawn="1">
          <p15:clr>
            <a:srgbClr val="F26B43"/>
          </p15:clr>
        </p15:guide>
        <p15:guide id="20" orient="horz" pos="1729" userDrawn="1">
          <p15:clr>
            <a:srgbClr val="F26B43"/>
          </p15:clr>
        </p15:guide>
        <p15:guide id="21" orient="horz" pos="2183" userDrawn="1">
          <p15:clr>
            <a:srgbClr val="F26B43"/>
          </p15:clr>
        </p15:guide>
        <p15:guide id="22" orient="horz" pos="2591" userDrawn="1">
          <p15:clr>
            <a:srgbClr val="F26B43"/>
          </p15:clr>
        </p15:guide>
        <p15:guide id="23" orient="horz" pos="3022" userDrawn="1">
          <p15:clr>
            <a:srgbClr val="F26B43"/>
          </p15:clr>
        </p15:guide>
        <p15:guide id="24" orient="horz" pos="3453" userDrawn="1">
          <p15:clr>
            <a:srgbClr val="F26B43"/>
          </p15:clr>
        </p15:guide>
        <p15:guide id="25" orient="horz" pos="3884" userDrawn="1">
          <p15:clr>
            <a:srgbClr val="F26B43"/>
          </p15:clr>
        </p15:guide>
        <p15:guide id="26" orient="horz" pos="4204" userDrawn="1">
          <p15:clr>
            <a:srgbClr val="F26B43"/>
          </p15:clr>
        </p15:guide>
        <p15:guide id="27" pos="434" userDrawn="1">
          <p15:clr>
            <a:srgbClr val="F26B43"/>
          </p15:clr>
        </p15:guide>
        <p15:guide id="28" pos="72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dertittel 4">
            <a:extLst>
              <a:ext uri="{FF2B5EF4-FFF2-40B4-BE49-F238E27FC236}">
                <a16:creationId xmlns:a16="http://schemas.microsoft.com/office/drawing/2014/main" id="{40E033E6-B516-8E76-ABBC-07E4FD1C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836" y="1453024"/>
            <a:ext cx="5059975" cy="2169997"/>
          </a:xfrm>
        </p:spPr>
        <p:txBody>
          <a:bodyPr vert="horz" lIns="0" tIns="0" rIns="0" bIns="0" rtlCol="0" anchor="b">
            <a:normAutofit/>
          </a:bodyPr>
          <a:lstStyle/>
          <a:p>
            <a:r>
              <a:rPr lang="nb-NO" sz="2800" dirty="0">
                <a:latin typeface="Arial"/>
                <a:cs typeface="Arial"/>
              </a:rPr>
              <a:t>HARRIS | </a:t>
            </a:r>
            <a:endParaRPr lang="en-US" sz="2800" dirty="0">
              <a:latin typeface="Arial"/>
              <a:cs typeface="Arial"/>
            </a:endParaRPr>
          </a:p>
          <a:p>
            <a:r>
              <a:rPr lang="nb-NO" sz="2800" dirty="0">
                <a:latin typeface="Arial"/>
                <a:cs typeface="Arial"/>
              </a:rPr>
              <a:t>Forretningsplan </a:t>
            </a:r>
            <a:br>
              <a:rPr lang="nb-NO" sz="2800" dirty="0">
                <a:latin typeface="Arial"/>
                <a:cs typeface="Arial"/>
              </a:rPr>
            </a:br>
            <a:r>
              <a:rPr lang="nb-NO" sz="2800" dirty="0">
                <a:latin typeface="Arial"/>
                <a:cs typeface="Arial"/>
              </a:rPr>
              <a:t>for bygg og anlegg</a:t>
            </a:r>
            <a:br>
              <a:rPr lang="nb-NO" sz="2800" dirty="0">
                <a:latin typeface="Arial"/>
                <a:cs typeface="Arial"/>
              </a:rPr>
            </a:br>
            <a:r>
              <a:rPr lang="nb-NO" sz="2800" dirty="0">
                <a:latin typeface="Arial"/>
                <a:cs typeface="Arial"/>
              </a:rPr>
              <a:t>2026</a:t>
            </a:r>
          </a:p>
          <a:p>
            <a:endParaRPr lang="nb-NO" sz="2800" dirty="0"/>
          </a:p>
        </p:txBody>
      </p:sp>
      <p:pic>
        <p:nvPicPr>
          <p:cNvPr id="3" name="Picture 2" descr="A close up of a map&#10;&#10;AI-generated content may be incorrect.">
            <a:extLst>
              <a:ext uri="{FF2B5EF4-FFF2-40B4-BE49-F238E27FC236}">
                <a16:creationId xmlns:a16="http://schemas.microsoft.com/office/drawing/2014/main" id="{11B6988A-2751-398F-F35F-0CDE0444F71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658" r="33125" b="-1"/>
          <a:stretch>
            <a:fillRect/>
          </a:stretch>
        </p:blipFill>
        <p:spPr>
          <a:xfrm>
            <a:off x="6096780" y="-1264"/>
            <a:ext cx="6084000" cy="6857990"/>
          </a:xfrm>
          <a:prstGeom prst="rect">
            <a:avLst/>
          </a:prstGeom>
          <a:noFill/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A75932-0964-CE78-DEBF-CAEB445565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0616" y="3829485"/>
            <a:ext cx="4140000" cy="3088620"/>
          </a:xfrm>
        </p:spPr>
        <p:txBody>
          <a:bodyPr vert="horz" lIns="0" tIns="0" rIns="0" bIns="0" numCol="1" rtlCol="0" anchor="t">
            <a:normAutofit/>
          </a:bodyPr>
          <a:lstStyle/>
          <a:p>
            <a:r>
              <a:rPr lang="nb-NO" cap="all">
                <a:solidFill>
                  <a:schemeClr val="accent3"/>
                </a:solidFill>
                <a:latin typeface="Arial"/>
                <a:cs typeface="Arial"/>
              </a:rPr>
              <a:t>Bergen november 2025</a:t>
            </a:r>
            <a:endParaRPr lang="en-US">
              <a:solidFill>
                <a:schemeClr val="accent3"/>
              </a:solidFill>
              <a:latin typeface="Arial"/>
              <a:cs typeface="Arial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206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B407C46-5662-D18D-F973-6C11E5FE4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10" y="671286"/>
            <a:ext cx="9063000" cy="432000"/>
          </a:xfrm>
        </p:spPr>
        <p:txBody>
          <a:bodyPr/>
          <a:lstStyle/>
          <a:p>
            <a:r>
              <a:rPr lang="nb-NO" sz="2800">
                <a:latin typeface="Arial"/>
                <a:cs typeface="Arial"/>
              </a:rPr>
              <a:t>Strategien på selskapsnivå frem til 2027 ligger i bun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9C56CB3-BB6E-FCFC-D3DD-ACE2D9139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oddrett tekst 3">
            <a:extLst>
              <a:ext uri="{FF2B5EF4-FFF2-40B4-BE49-F238E27FC236}">
                <a16:creationId xmlns:a16="http://schemas.microsoft.com/office/drawing/2014/main" id="{460B0ECB-F162-E460-5C42-B430618FF399}"/>
              </a:ext>
            </a:extLst>
          </p:cNvPr>
          <p:cNvSpPr>
            <a:spLocks noGrp="1"/>
          </p:cNvSpPr>
          <p:nvPr>
            <p:ph type="body" orient="vert" sz="quarter" idx="2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oddrett tekst 4">
            <a:extLst>
              <a:ext uri="{FF2B5EF4-FFF2-40B4-BE49-F238E27FC236}">
                <a16:creationId xmlns:a16="http://schemas.microsoft.com/office/drawing/2014/main" id="{AE389587-D1CD-8CD8-5087-036B1D9ADFDC}"/>
              </a:ext>
            </a:extLst>
          </p:cNvPr>
          <p:cNvSpPr>
            <a:spLocks noGrp="1"/>
          </p:cNvSpPr>
          <p:nvPr>
            <p:ph type="body" orient="vert" sz="quarter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8E2EE5-DC4A-AF6E-B004-3519D1D63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nb-NO" smtClean="0"/>
              <a:pPr/>
              <a:t>2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DF37410-4EB1-8601-CBA9-F853CED58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325" y="1341373"/>
            <a:ext cx="9553265" cy="525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770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BDD4D3-72A9-1E3F-D9F1-EB1E2FEF00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E52544B-D692-71C1-5D2A-509476A32D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oddrett tekst 3">
            <a:extLst>
              <a:ext uri="{FF2B5EF4-FFF2-40B4-BE49-F238E27FC236}">
                <a16:creationId xmlns:a16="http://schemas.microsoft.com/office/drawing/2014/main" id="{28E27B95-04FC-0D4D-8B3E-23356E4354AE}"/>
              </a:ext>
            </a:extLst>
          </p:cNvPr>
          <p:cNvSpPr>
            <a:spLocks noGrp="1"/>
          </p:cNvSpPr>
          <p:nvPr>
            <p:ph type="body" orient="vert" sz="quarter" idx="2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oddrett tekst 4">
            <a:extLst>
              <a:ext uri="{FF2B5EF4-FFF2-40B4-BE49-F238E27FC236}">
                <a16:creationId xmlns:a16="http://schemas.microsoft.com/office/drawing/2014/main" id="{CAE0D2E9-23AF-255C-5C36-203D8F5958F7}"/>
              </a:ext>
            </a:extLst>
          </p:cNvPr>
          <p:cNvSpPr>
            <a:spLocks noGrp="1"/>
          </p:cNvSpPr>
          <p:nvPr>
            <p:ph type="body" orient="vert" sz="quarter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662F19B-D9E6-41E0-E04C-61CC68BEA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nb-NO" smtClean="0"/>
              <a:pPr/>
              <a:t>3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650BB470-675E-8EC4-1932-F0E5A53B86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325" y="1717550"/>
            <a:ext cx="8878076" cy="488954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971716-B290-F2B9-2785-FB6A4FE10C55}"/>
              </a:ext>
            </a:extLst>
          </p:cNvPr>
          <p:cNvSpPr/>
          <p:nvPr/>
        </p:nvSpPr>
        <p:spPr>
          <a:xfrm>
            <a:off x="5638800" y="2971799"/>
            <a:ext cx="914399" cy="914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DFEA7C-471B-C6A7-1B89-C47A4321B5E2}"/>
              </a:ext>
            </a:extLst>
          </p:cNvPr>
          <p:cNvSpPr/>
          <p:nvPr/>
        </p:nvSpPr>
        <p:spPr>
          <a:xfrm>
            <a:off x="7020840" y="3516533"/>
            <a:ext cx="1519630" cy="89499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0981F4B-1EBC-7890-A9D7-A6A442C099FA}"/>
              </a:ext>
            </a:extLst>
          </p:cNvPr>
          <p:cNvSpPr txBox="1">
            <a:spLocks/>
          </p:cNvSpPr>
          <p:nvPr/>
        </p:nvSpPr>
        <p:spPr>
          <a:xfrm>
            <a:off x="692602" y="671286"/>
            <a:ext cx="9895758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3600" b="0" i="0" kern="1200">
                <a:solidFill>
                  <a:srgbClr val="13284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2800">
                <a:latin typeface="Arial"/>
                <a:cs typeface="Arial"/>
              </a:rPr>
              <a:t>Hovedfokus selskapsnivå: Q4 2025 – Q1 2026 - </a:t>
            </a:r>
            <a:r>
              <a:rPr lang="nb-NO" sz="2800" u="sng" dirty="0">
                <a:latin typeface="Arial"/>
                <a:cs typeface="Arial"/>
              </a:rPr>
              <a:t>vekststrategi</a:t>
            </a:r>
            <a:endParaRPr lang="nb-NO" sz="2800" dirty="0">
              <a:latin typeface="Arial"/>
              <a:cs typeface="Arial"/>
            </a:endParaRPr>
          </a:p>
          <a:p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0553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F7E26D5-4F18-F98E-BE3A-9786350ABB4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164" y="390043"/>
            <a:ext cx="9996494" cy="1008911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sz="2400" dirty="0">
                <a:solidFill>
                  <a:schemeClr val="tx2"/>
                </a:solidFill>
                <a:latin typeface="Arial"/>
                <a:cs typeface="Arial"/>
              </a:rPr>
              <a:t>Hovedfokus corporate/forretningsjuss: </a:t>
            </a:r>
            <a:br>
              <a:rPr lang="nb-NO" sz="2400" dirty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nb-NO" sz="2400" dirty="0">
                <a:solidFill>
                  <a:schemeClr val="tx2"/>
                </a:solidFill>
                <a:latin typeface="Arial"/>
                <a:cs typeface="Arial"/>
              </a:rPr>
              <a:t>Q4 2025 – Q1 2026 - </a:t>
            </a:r>
            <a:r>
              <a:rPr lang="nb-NO" sz="2400" u="sng" dirty="0">
                <a:solidFill>
                  <a:schemeClr val="tx2"/>
                </a:solidFill>
                <a:latin typeface="Arial"/>
                <a:cs typeface="Arial"/>
              </a:rPr>
              <a:t>vekststrategi</a:t>
            </a:r>
            <a:endParaRPr lang="nb-NO" sz="2400" u="sng" dirty="0">
              <a:solidFill>
                <a:schemeClr val="tx2"/>
              </a:solidFill>
            </a:endParaRPr>
          </a:p>
          <a:p>
            <a:endParaRPr lang="nb-NO" sz="2400" dirty="0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FE5F1C-9EFF-B4AD-9E09-DF671AF90F47}"/>
              </a:ext>
            </a:extLst>
          </p:cNvPr>
          <p:cNvSpPr txBox="1"/>
          <p:nvPr/>
        </p:nvSpPr>
        <p:spPr>
          <a:xfrm>
            <a:off x="480164" y="1632380"/>
            <a:ext cx="5338094" cy="38241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050" b="1" dirty="0">
                <a:solidFill>
                  <a:schemeClr val="tx2"/>
                </a:solidFill>
                <a:latin typeface="Arial"/>
                <a:cs typeface="Arial"/>
              </a:rPr>
              <a:t>FASE I (november – januar)</a:t>
            </a:r>
          </a:p>
          <a:p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Sikre en vellykket omorganisering</a:t>
            </a:r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42950" lvl="1" indent="-285750">
              <a:buFont typeface="Courier New"/>
              <a:buChar char="o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Rollebeskrivelser – finne balanse mellom leder og nestleder</a:t>
            </a:r>
          </a:p>
          <a:p>
            <a:pPr marL="742950" lvl="1" indent="-285750">
              <a:buFont typeface="Courier New"/>
              <a:buChar char="o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Oppstartsamtaler</a:t>
            </a:r>
          </a:p>
          <a:p>
            <a:pPr marL="742950" lvl="1" indent="-285750">
              <a:buFont typeface="Courier New,monospace"/>
              <a:buChar char="o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Vellykket implementering av Monday.com og ukentlige møter</a:t>
            </a:r>
          </a:p>
          <a:p>
            <a:pPr marL="742950" lvl="1" indent="-285750">
              <a:buFont typeface="Courier New,monospace"/>
              <a:buChar char="o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lvl="1"/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Sette kommersielt arbeid i system</a:t>
            </a:r>
            <a:endParaRPr lang="nb-NO" sz="1000" dirty="0">
              <a:solidFill>
                <a:schemeClr val="tx2"/>
              </a:solidFill>
            </a:endParaRPr>
          </a:p>
          <a:p>
            <a:pPr marL="742950" lvl="1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Gjennomgang og evaluering av rammeavtaler</a:t>
            </a:r>
          </a:p>
          <a:p>
            <a:pPr marL="742950" lvl="1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Plan for oppfølging av klientansvar</a:t>
            </a:r>
          </a:p>
          <a:p>
            <a:pPr marL="742950" lvl="1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Samle fokus mot byggherrer/utbyggere</a:t>
            </a:r>
          </a:p>
          <a:p>
            <a:pPr marL="742950" lvl="1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42950" lvl="1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Styrke samarbeidet med Næringseiendom, herunder Transaksjoner.</a:t>
            </a:r>
          </a:p>
          <a:p>
            <a:pPr marL="285750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Forsterke Offentlige anskaffelser</a:t>
            </a:r>
          </a:p>
          <a:p>
            <a:pPr marL="742950" lvl="1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lvl="1"/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endParaRPr lang="nb-NO" sz="11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 sz="11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AC53342-F308-70AB-D874-53B0A9C577D7}"/>
              </a:ext>
            </a:extLst>
          </p:cNvPr>
          <p:cNvSpPr txBox="1"/>
          <p:nvPr/>
        </p:nvSpPr>
        <p:spPr>
          <a:xfrm>
            <a:off x="6377058" y="1632380"/>
            <a:ext cx="5615835" cy="11772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050" b="1" dirty="0">
                <a:solidFill>
                  <a:schemeClr val="tx2"/>
                </a:solidFill>
                <a:latin typeface="Arial"/>
                <a:cs typeface="Arial"/>
              </a:rPr>
              <a:t>FASE II (februar – mars)</a:t>
            </a:r>
          </a:p>
          <a:p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Fortsette fase I</a:t>
            </a:r>
          </a:p>
          <a:p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nb-NO" sz="1000" dirty="0">
                <a:solidFill>
                  <a:schemeClr val="tx2"/>
                </a:solidFill>
                <a:latin typeface="Arial"/>
                <a:cs typeface="Arial"/>
              </a:rPr>
              <a:t>Kartlegge og lage plan for eventuell rekruttering/justering i avdelingen </a:t>
            </a:r>
          </a:p>
          <a:p>
            <a:pPr marL="285750" indent="-285750">
              <a:buFont typeface="Arial,Sans-Serif"/>
              <a:buChar char="•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42950" lvl="1" indent="-285750">
              <a:buFont typeface="Courier New"/>
              <a:buChar char="o"/>
            </a:pPr>
            <a:endParaRPr lang="nb-NO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804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BC952-04DB-57B0-0C17-EE2B497EDD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0CA2214-2782-90D5-E5CF-0650B083E3AA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929" imgH="17929" progId="TCLayout.ActiveDocument.1">
                  <p:embed/>
                </p:oleObj>
              </mc:Choice>
              <mc:Fallback>
                <p:oleObj name="think-cell Slide" r:id="rId3" imgW="17929" imgH="17929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0CA2214-2782-90D5-E5CF-0650B083E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>
            <a:extLst>
              <a:ext uri="{FF2B5EF4-FFF2-40B4-BE49-F238E27FC236}">
                <a16:creationId xmlns:a16="http://schemas.microsoft.com/office/drawing/2014/main" id="{584BB39B-57CD-D405-1A7C-274B67881200}"/>
              </a:ext>
            </a:extLst>
          </p:cNvPr>
          <p:cNvSpPr/>
          <p:nvPr/>
        </p:nvSpPr>
        <p:spPr>
          <a:xfrm>
            <a:off x="287193" y="1472964"/>
            <a:ext cx="2007793" cy="822001"/>
          </a:xfrm>
          <a:prstGeom prst="rect">
            <a:avLst/>
          </a:prstGeom>
          <a:solidFill>
            <a:schemeClr val="tx1"/>
          </a:solidFill>
          <a:ln w="12701" cap="flat">
            <a:solidFill>
              <a:schemeClr val="tx1"/>
            </a:solidFill>
            <a:prstDash val="solid"/>
            <a:miter/>
          </a:ln>
        </p:spPr>
        <p:txBody>
          <a:bodyPr vert="horz" wrap="square" lIns="107999" tIns="45720" rIns="91440" bIns="45720" anchor="ctr" anchorCtr="0" compatLnSpc="1">
            <a:no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b-NO" sz="105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Omorganisering</a:t>
            </a:r>
            <a:endParaRPr lang="nb-NO" sz="1050" b="0" i="0" u="none" strike="noStrike" kern="0" cap="none" spc="0" baseline="0" dirty="0">
              <a:solidFill>
                <a:srgbClr val="FFFFFF"/>
              </a:solidFill>
              <a:uFillTx/>
              <a:latin typeface="Arial"/>
              <a:ea typeface="Open Sans" pitchFamily="34"/>
              <a:cs typeface="Arial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86FDA6D-EE57-DB79-FA8F-BCAB30B5D77C}"/>
              </a:ext>
            </a:extLst>
          </p:cNvPr>
          <p:cNvSpPr txBox="1">
            <a:spLocks noGrp="1"/>
          </p:cNvSpPr>
          <p:nvPr>
            <p:ph type="body" orient="vert" sz="quarter" idx="20"/>
          </p:nvPr>
        </p:nvSpPr>
        <p:spPr>
          <a:xfrm rot="10800000">
            <a:off x="11894728" y="2844552"/>
            <a:ext cx="155954" cy="1886400"/>
          </a:xfrm>
        </p:spPr>
        <p:txBody>
          <a:bodyPr>
            <a:noAutofit/>
          </a:bodyPr>
          <a:lstStyle/>
          <a:p>
            <a:pPr lvl="0"/>
            <a:endParaRPr lang="nb-NO" sz="10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nb-NO" sz="10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nb-NO" sz="10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buNone/>
            </a:pPr>
            <a:endParaRPr lang="nb-NO" sz="10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17FC0B12-D84F-FF60-4FC7-26063E058802}"/>
              </a:ext>
            </a:extLst>
          </p:cNvPr>
          <p:cNvSpPr/>
          <p:nvPr/>
        </p:nvSpPr>
        <p:spPr>
          <a:xfrm>
            <a:off x="293431" y="2449503"/>
            <a:ext cx="2007793" cy="935415"/>
          </a:xfrm>
          <a:prstGeom prst="rect">
            <a:avLst/>
          </a:prstGeom>
          <a:solidFill>
            <a:schemeClr val="tx1"/>
          </a:solidFill>
          <a:ln w="12701" cap="flat">
            <a:solidFill>
              <a:schemeClr val="tx1"/>
            </a:solidFill>
            <a:prstDash val="solid"/>
            <a:miter/>
          </a:ln>
        </p:spPr>
        <p:txBody>
          <a:bodyPr vert="horz" wrap="square" lIns="107999" tIns="45720" rIns="91440" bIns="45720" anchor="ctr" anchorCtr="0" compatLnSpc="1">
            <a:no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b-NO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Øke timeprisene og </a:t>
            </a:r>
            <a:br>
              <a:rPr lang="nb-NO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</a:br>
            <a:r>
              <a:rPr lang="nb-NO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redusere nedskrivninger/</a:t>
            </a:r>
            <a:br>
              <a:rPr lang="nb-NO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</a:br>
            <a:r>
              <a:rPr lang="nb-NO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rabatter</a:t>
            </a: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050" dirty="0">
              <a:solidFill>
                <a:srgbClr val="FFFFFF"/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7" name="Rectangle 26">
            <a:extLst>
              <a:ext uri="{FF2B5EF4-FFF2-40B4-BE49-F238E27FC236}">
                <a16:creationId xmlns:a16="http://schemas.microsoft.com/office/drawing/2014/main" id="{E6112255-0057-F126-50B4-2A0534B71CE9}"/>
              </a:ext>
            </a:extLst>
          </p:cNvPr>
          <p:cNvSpPr/>
          <p:nvPr/>
        </p:nvSpPr>
        <p:spPr>
          <a:xfrm>
            <a:off x="296428" y="3539455"/>
            <a:ext cx="2007793" cy="933843"/>
          </a:xfrm>
          <a:prstGeom prst="rect">
            <a:avLst/>
          </a:prstGeom>
          <a:solidFill>
            <a:schemeClr val="tx1"/>
          </a:solidFill>
          <a:ln w="12701" cap="flat">
            <a:solidFill>
              <a:schemeClr val="tx1"/>
            </a:solidFill>
            <a:prstDash val="solid"/>
            <a:miter/>
          </a:ln>
        </p:spPr>
        <p:txBody>
          <a:bodyPr vert="horz" wrap="square" lIns="107999" tIns="45720" rIns="91440" bIns="45720" anchor="ctr" anchorCtr="0" compatLnSpc="1">
            <a:no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kern="0" dirty="0" err="1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Vekst</a:t>
            </a:r>
            <a:r>
              <a:rPr lang="en-US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 </a:t>
            </a:r>
            <a:r>
              <a:rPr lang="en-US" sz="1050" kern="0" dirty="0" err="1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og</a:t>
            </a:r>
            <a:r>
              <a:rPr lang="en-US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 </a:t>
            </a: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kern="0" dirty="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ta </a:t>
            </a:r>
            <a:r>
              <a:rPr lang="en-US" sz="1050" kern="0" dirty="0" err="1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markedsandeler</a:t>
            </a:r>
            <a:endParaRPr lang="en-US" sz="1050" kern="0" dirty="0">
              <a:solidFill>
                <a:srgbClr val="FFFFFF"/>
              </a:solidFill>
              <a:latin typeface="Arial"/>
              <a:ea typeface="Open Sans"/>
              <a:cs typeface="Arial"/>
            </a:endParaRP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nb-NO" sz="1050" kern="0" dirty="0">
              <a:solidFill>
                <a:srgbClr val="FFFFFF"/>
              </a:solidFill>
              <a:latin typeface="Arial"/>
              <a:ea typeface="Open Sans" pitchFamily="34"/>
              <a:cs typeface="Arial"/>
            </a:endParaRPr>
          </a:p>
        </p:txBody>
      </p:sp>
      <p:sp>
        <p:nvSpPr>
          <p:cNvPr id="8" name="TextBox 48">
            <a:extLst>
              <a:ext uri="{FF2B5EF4-FFF2-40B4-BE49-F238E27FC236}">
                <a16:creationId xmlns:a16="http://schemas.microsoft.com/office/drawing/2014/main" id="{223C41B6-2AA2-68E7-BDB0-DF53FB79EB53}"/>
              </a:ext>
            </a:extLst>
          </p:cNvPr>
          <p:cNvSpPr txBox="1"/>
          <p:nvPr/>
        </p:nvSpPr>
        <p:spPr>
          <a:xfrm>
            <a:off x="287193" y="938137"/>
            <a:ext cx="2007793" cy="276999"/>
          </a:xfrm>
          <a:prstGeom prst="rect">
            <a:avLst/>
          </a:prstGeom>
          <a:noFill/>
          <a:ln w="9528" cap="flat">
            <a:noFill/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b-NO" sz="1200" b="1">
                <a:solidFill>
                  <a:srgbClr val="000000"/>
                </a:solidFill>
                <a:latin typeface="Arial" panose="020B0604020202020204" pitchFamily="34" charset="0"/>
                <a:ea typeface="Open Sans Light" pitchFamily="34"/>
                <a:cs typeface="Arial" panose="020B0604020202020204" pitchFamily="34" charset="0"/>
              </a:rPr>
              <a:t>H</a:t>
            </a:r>
            <a:r>
              <a:rPr lang="nb-NO" sz="1200" b="1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  <a:ea typeface="Open Sans Light" pitchFamily="34"/>
                <a:cs typeface="Arial" panose="020B0604020202020204" pitchFamily="34" charset="0"/>
              </a:rPr>
              <a:t>ovedmål</a:t>
            </a:r>
          </a:p>
        </p:txBody>
      </p:sp>
      <p:sp>
        <p:nvSpPr>
          <p:cNvPr id="9" name="TextBox 50">
            <a:extLst>
              <a:ext uri="{FF2B5EF4-FFF2-40B4-BE49-F238E27FC236}">
                <a16:creationId xmlns:a16="http://schemas.microsoft.com/office/drawing/2014/main" id="{CB483182-3C60-8209-985B-45768505C4A4}"/>
              </a:ext>
            </a:extLst>
          </p:cNvPr>
          <p:cNvSpPr txBox="1"/>
          <p:nvPr/>
        </p:nvSpPr>
        <p:spPr>
          <a:xfrm>
            <a:off x="10755496" y="935102"/>
            <a:ext cx="1219200" cy="276999"/>
          </a:xfrm>
          <a:prstGeom prst="rect">
            <a:avLst/>
          </a:prstGeom>
          <a:noFill/>
          <a:ln w="9528" cap="flat">
            <a:noFill/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nb-NO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000000"/>
                </a:solidFill>
                <a:uFillTx/>
                <a:latin typeface="Open Sans Light" pitchFamily="34"/>
                <a:ea typeface="Open Sans Light" pitchFamily="34"/>
                <a:cs typeface="Open Sans Light" pitchFamily="34"/>
              </a:defRPr>
            </a:lvl1pPr>
          </a:lstStyle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Fremdrift </a:t>
            </a:r>
          </a:p>
        </p:txBody>
      </p:sp>
      <p:sp>
        <p:nvSpPr>
          <p:cNvPr id="11" name="Rectangle 26">
            <a:extLst>
              <a:ext uri="{FF2B5EF4-FFF2-40B4-BE49-F238E27FC236}">
                <a16:creationId xmlns:a16="http://schemas.microsoft.com/office/drawing/2014/main" id="{A20F8DBE-44EF-DA0D-20FE-ED93E43AAD80}"/>
              </a:ext>
            </a:extLst>
          </p:cNvPr>
          <p:cNvSpPr/>
          <p:nvPr/>
        </p:nvSpPr>
        <p:spPr>
          <a:xfrm>
            <a:off x="296428" y="4627835"/>
            <a:ext cx="2007793" cy="933427"/>
          </a:xfrm>
          <a:prstGeom prst="rect">
            <a:avLst/>
          </a:prstGeom>
          <a:solidFill>
            <a:schemeClr val="tx1"/>
          </a:solidFill>
          <a:ln w="12701" cap="flat">
            <a:solidFill>
              <a:schemeClr val="tx1"/>
            </a:solidFill>
            <a:prstDash val="solid"/>
            <a:miter/>
          </a:ln>
        </p:spPr>
        <p:txBody>
          <a:bodyPr vert="horz" wrap="square" lIns="107999" tIns="45720" rIns="91440" bIns="45720" anchor="ctr" anchorCtr="0" compatLnSpc="1">
            <a:no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b-NO" sz="1050">
                <a:solidFill>
                  <a:srgbClr val="FFFFFF"/>
                </a:solidFill>
                <a:latin typeface="Arial"/>
                <a:ea typeface="Open Sans"/>
                <a:cs typeface="Arial"/>
              </a:rPr>
              <a:t>Klientutvikling</a:t>
            </a:r>
            <a:endParaRPr lang="nb-NO"/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nb-NO" sz="1050" b="0" i="0" u="none" strike="noStrike" kern="1200" cap="none" spc="0" baseline="0">
              <a:solidFill>
                <a:srgbClr val="FFFFFF"/>
              </a:solidFill>
              <a:uFillTx/>
              <a:latin typeface="Arial"/>
              <a:ea typeface="Open Sans" pitchFamily="34"/>
              <a:cs typeface="Arial"/>
            </a:endParaRPr>
          </a:p>
        </p:txBody>
      </p:sp>
      <p:sp>
        <p:nvSpPr>
          <p:cNvPr id="12" name="TextBox 48">
            <a:extLst>
              <a:ext uri="{FF2B5EF4-FFF2-40B4-BE49-F238E27FC236}">
                <a16:creationId xmlns:a16="http://schemas.microsoft.com/office/drawing/2014/main" id="{88EF1B99-38F2-8593-1D3D-5C7B7E873B7D}"/>
              </a:ext>
            </a:extLst>
          </p:cNvPr>
          <p:cNvSpPr txBox="1"/>
          <p:nvPr/>
        </p:nvSpPr>
        <p:spPr>
          <a:xfrm>
            <a:off x="2641473" y="958347"/>
            <a:ext cx="2195097" cy="276999"/>
          </a:xfrm>
          <a:prstGeom prst="rect">
            <a:avLst/>
          </a:prstGeom>
          <a:noFill/>
          <a:ln w="9528" cap="flat">
            <a:noFill/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nb-NO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000000"/>
                </a:solidFill>
                <a:uFillTx/>
                <a:latin typeface="Open Sans Light" pitchFamily="34"/>
                <a:ea typeface="Open Sans Light" pitchFamily="34"/>
                <a:cs typeface="Open Sans Light" pitchFamily="34"/>
              </a:defRPr>
            </a:lvl1pPr>
          </a:lstStyle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Strategiske handlinger</a:t>
            </a:r>
          </a:p>
        </p:txBody>
      </p:sp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43F57836-37CE-117F-84FE-57040B5ED8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63543"/>
              </p:ext>
            </p:extLst>
          </p:nvPr>
        </p:nvGraphicFramePr>
        <p:xfrm>
          <a:off x="2520576" y="1472962"/>
          <a:ext cx="9409631" cy="4091606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6508377">
                  <a:extLst>
                    <a:ext uri="{9D8B030D-6E8A-4147-A177-3AD203B41FA5}">
                      <a16:colId xmlns:a16="http://schemas.microsoft.com/office/drawing/2014/main" val="270003086"/>
                    </a:ext>
                  </a:extLst>
                </a:gridCol>
                <a:gridCol w="1551198">
                  <a:extLst>
                    <a:ext uri="{9D8B030D-6E8A-4147-A177-3AD203B41FA5}">
                      <a16:colId xmlns:a16="http://schemas.microsoft.com/office/drawing/2014/main" val="3731876636"/>
                    </a:ext>
                  </a:extLst>
                </a:gridCol>
                <a:gridCol w="1350056">
                  <a:extLst>
                    <a:ext uri="{9D8B030D-6E8A-4147-A177-3AD203B41FA5}">
                      <a16:colId xmlns:a16="http://schemas.microsoft.com/office/drawing/2014/main" val="2414166831"/>
                    </a:ext>
                  </a:extLst>
                </a:gridCol>
              </a:tblGrid>
              <a:tr h="276049">
                <a:tc>
                  <a:txBody>
                    <a:bodyPr/>
                    <a:lstStyle/>
                    <a:p>
                      <a:pPr marL="0" lvl="0" indent="0">
                        <a:buFont typeface="Courier New"/>
                        <a:buNone/>
                      </a:pPr>
                      <a:r>
                        <a:rPr lang="nb-NO" sz="900" b="1" dirty="0">
                          <a:solidFill>
                            <a:schemeClr val="tx2"/>
                          </a:solidFill>
                          <a:latin typeface="Arial"/>
                          <a:cs typeface="Arial"/>
                        </a:rPr>
                        <a:t>Rollebeskrivelser – finne balanse mellom leder og nestleder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1396172"/>
                  </a:ext>
                </a:extLst>
              </a:tr>
              <a:tr h="268352">
                <a:tc>
                  <a:txBody>
                    <a:bodyPr/>
                    <a:lstStyle/>
                    <a:p>
                      <a:pPr marL="0" lvl="0" indent="0">
                        <a:buFontTx/>
                        <a:buNone/>
                      </a:pPr>
                      <a:r>
                        <a:rPr lang="nb-NO" sz="900" b="1" dirty="0">
                          <a:solidFill>
                            <a:schemeClr val="tx2"/>
                          </a:solidFill>
                          <a:latin typeface="Arial"/>
                          <a:cs typeface="Arial"/>
                        </a:rPr>
                        <a:t>Gjennomføre oppstartsamtaler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64892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900" b="1" dirty="0">
                          <a:solidFill>
                            <a:schemeClr val="tx2"/>
                          </a:solidFill>
                          <a:latin typeface="Arial"/>
                          <a:cs typeface="Arial"/>
                        </a:rPr>
                        <a:t>Vellykket implementering av Monday.com og ukentlige møter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nb-NO" sz="900" b="0" i="0" u="none" strike="noStrike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028507"/>
                  </a:ext>
                </a:extLst>
              </a:tr>
              <a:tr h="37627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nb-NO" sz="900" b="0" i="0" u="none" strike="noStrike" kern="1200" cap="none" spc="0" baseline="0" dirty="0">
                        <a:solidFill>
                          <a:srgbClr val="000000"/>
                        </a:solidFill>
                        <a:uFillTx/>
                        <a:latin typeface="Arial"/>
                        <a:ea typeface="Open Sans"/>
                        <a:cs typeface="Arial"/>
                      </a:endParaRP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nb-NO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nb-NO" sz="900" b="0" i="0" u="none" strike="noStrike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161370"/>
                  </a:ext>
                </a:extLst>
              </a:tr>
              <a:tr h="421273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1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lpasse oss nye timepriser hensyntatt kalkyle for lønnsøkning og øvrige kostnader for 2026</a:t>
                      </a:r>
                      <a:endParaRPr lang="en-US" sz="900" b="1" kern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/grupp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44622"/>
                  </a:ext>
                </a:extLst>
              </a:tr>
              <a:tr h="41475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dirty="0"/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nb-NO" sz="900" b="0" i="0" u="none" strike="noStrike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637963"/>
                  </a:ext>
                </a:extLst>
              </a:tr>
              <a:tr h="313077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1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le fokus mot byggherrer/utbyggere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/grupp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2817217"/>
                  </a:ext>
                </a:extLst>
              </a:tr>
              <a:tr h="329316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1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jennomgang og evaluering av rammeavtaler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/grupp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28254"/>
                  </a:ext>
                </a:extLst>
              </a:tr>
              <a:tr h="332967"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nb-NO" sz="900" b="1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sterke Offentlige anskaffelser</a:t>
                      </a:r>
                    </a:p>
                    <a:p>
                      <a:pPr marL="742950" lvl="1" indent="-285750">
                        <a:buFont typeface="Arial"/>
                        <a:buChar char="•"/>
                      </a:pPr>
                      <a:endParaRPr lang="nb-NO" sz="1000" dirty="0">
                        <a:solidFill>
                          <a:schemeClr val="tx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/nestle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43588"/>
                  </a:ext>
                </a:extLst>
              </a:tr>
              <a:tr h="316965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endParaRPr lang="nb-NO" sz="900" b="0" i="0" u="none" strike="noStrike" kern="1200" cap="none" spc="0" baseline="0" dirty="0">
                        <a:solidFill>
                          <a:srgbClr val="000000"/>
                        </a:solidFill>
                        <a:uFillTx/>
                        <a:latin typeface="Arial"/>
                        <a:ea typeface="Open Sans"/>
                        <a:cs typeface="Arial"/>
                      </a:endParaRP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endParaRPr lang="nb-NO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endParaRPr lang="nb-NO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69243"/>
                  </a:ext>
                </a:extLst>
              </a:tr>
              <a:tr h="270004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1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n for oppfølging av klientansvar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nb-NO" sz="900" b="0" i="0" u="none" strike="noStrike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277153"/>
                  </a:ext>
                </a:extLst>
              </a:tr>
              <a:tr h="348857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1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yrke samarbeidet med Næringseiendom, herunder Transaksjoner.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nb-NO" sz="900" b="0" i="0" u="none" strike="noStrike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eder</a:t>
                      </a:r>
                      <a:endParaRPr lang="nb-NO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900" b="0" i="0" u="none" strike="noStrike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🟡 Jobber med de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3250430"/>
                  </a:ext>
                </a:extLst>
              </a:tr>
            </a:tbl>
          </a:graphicData>
        </a:graphic>
      </p:graphicFrame>
      <p:sp>
        <p:nvSpPr>
          <p:cNvPr id="14" name="TextBox 48">
            <a:extLst>
              <a:ext uri="{FF2B5EF4-FFF2-40B4-BE49-F238E27FC236}">
                <a16:creationId xmlns:a16="http://schemas.microsoft.com/office/drawing/2014/main" id="{50A45E80-AFA6-7258-560C-F8796CC99861}"/>
              </a:ext>
            </a:extLst>
          </p:cNvPr>
          <p:cNvSpPr txBox="1"/>
          <p:nvPr/>
        </p:nvSpPr>
        <p:spPr>
          <a:xfrm>
            <a:off x="9011339" y="958347"/>
            <a:ext cx="1293656" cy="276999"/>
          </a:xfrm>
          <a:prstGeom prst="rect">
            <a:avLst/>
          </a:prstGeom>
          <a:noFill/>
          <a:ln w="9528" cap="flat">
            <a:noFill/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nb-NO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000000"/>
                </a:solidFill>
                <a:uFillTx/>
                <a:latin typeface="Open Sans Light" pitchFamily="34"/>
                <a:ea typeface="Open Sans Light" pitchFamily="34"/>
                <a:cs typeface="Open Sans Light" pitchFamily="34"/>
              </a:defRPr>
            </a:lvl1pPr>
          </a:lstStyle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Hvem/Hvordan 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FEC58E-6D33-E45E-87A1-76141DE60A93}"/>
              </a:ext>
            </a:extLst>
          </p:cNvPr>
          <p:cNvCxnSpPr>
            <a:cxnSpLocks/>
          </p:cNvCxnSpPr>
          <p:nvPr/>
        </p:nvCxnSpPr>
        <p:spPr>
          <a:xfrm>
            <a:off x="296428" y="1251065"/>
            <a:ext cx="1963700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40C09A0-A8D5-1A70-47B4-8DBC9F89DBD8}"/>
              </a:ext>
            </a:extLst>
          </p:cNvPr>
          <p:cNvCxnSpPr>
            <a:cxnSpLocks/>
          </p:cNvCxnSpPr>
          <p:nvPr/>
        </p:nvCxnSpPr>
        <p:spPr>
          <a:xfrm>
            <a:off x="2538467" y="1251065"/>
            <a:ext cx="6175120" cy="15059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5E93EB8-7FDA-F15C-6207-AE1492D1E6EA}"/>
              </a:ext>
            </a:extLst>
          </p:cNvPr>
          <p:cNvCxnSpPr>
            <a:cxnSpLocks/>
          </p:cNvCxnSpPr>
          <p:nvPr/>
        </p:nvCxnSpPr>
        <p:spPr>
          <a:xfrm flipV="1">
            <a:off x="9011339" y="1242879"/>
            <a:ext cx="1293656" cy="8185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9618856-4877-B78F-B1D4-5CA123C54AD8}"/>
              </a:ext>
            </a:extLst>
          </p:cNvPr>
          <p:cNvCxnSpPr>
            <a:cxnSpLocks/>
          </p:cNvCxnSpPr>
          <p:nvPr/>
        </p:nvCxnSpPr>
        <p:spPr>
          <a:xfrm flipV="1">
            <a:off x="10658884" y="1242879"/>
            <a:ext cx="1293656" cy="8185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6D2A0CCA-5541-B219-0D44-AA6C54E3EAE2}"/>
              </a:ext>
            </a:extLst>
          </p:cNvPr>
          <p:cNvSpPr txBox="1">
            <a:spLocks/>
          </p:cNvSpPr>
          <p:nvPr/>
        </p:nvSpPr>
        <p:spPr>
          <a:xfrm>
            <a:off x="280271" y="465182"/>
            <a:ext cx="9272178" cy="2869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5000" b="0" i="0" kern="1200" dirty="0">
                <a:solidFill>
                  <a:srgbClr val="13284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1600">
                <a:solidFill>
                  <a:schemeClr val="accent3"/>
                </a:solidFill>
                <a:latin typeface="Arial"/>
                <a:cs typeface="Arial"/>
              </a:rPr>
              <a:t>Strategiske prioriteringer: Q4 2025 – Q1 2026 – Fase 1 - </a:t>
            </a:r>
            <a:r>
              <a:rPr lang="nb-NO" sz="1600" u="sng">
                <a:solidFill>
                  <a:schemeClr val="accent3"/>
                </a:solidFill>
                <a:latin typeface="Arial"/>
                <a:cs typeface="Arial"/>
              </a:rPr>
              <a:t>Vekststrategi</a:t>
            </a:r>
          </a:p>
        </p:txBody>
      </p:sp>
    </p:spTree>
    <p:extLst>
      <p:ext uri="{BB962C8B-B14F-4D97-AF65-F5344CB8AC3E}">
        <p14:creationId xmlns:p14="http://schemas.microsoft.com/office/powerpoint/2010/main" val="712366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2F7296EC-E0CB-23E8-0ECD-7D9CE6F6AD9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15309" y="1870790"/>
            <a:ext cx="4961382" cy="2405009"/>
          </a:xfrm>
        </p:spPr>
      </p:pic>
    </p:spTree>
    <p:extLst>
      <p:ext uri="{BB962C8B-B14F-4D97-AF65-F5344CB8AC3E}">
        <p14:creationId xmlns:p14="http://schemas.microsoft.com/office/powerpoint/2010/main" val="1281489423"/>
      </p:ext>
    </p:extLst>
  </p:cSld>
  <p:clrMapOvr>
    <a:masterClrMapping/>
  </p:clrMapOvr>
</p:sld>
</file>

<file path=ppt/theme/theme1.xml><?xml version="1.0" encoding="utf-8"?>
<a:theme xmlns:a="http://schemas.openxmlformats.org/drawingml/2006/main" name="Formuesforvaltning">
  <a:themeElements>
    <a:clrScheme name="Egendefinert 3">
      <a:dk1>
        <a:srgbClr val="132849"/>
      </a:dk1>
      <a:lt1>
        <a:srgbClr val="FFFFFF"/>
      </a:lt1>
      <a:dk2>
        <a:srgbClr val="132849"/>
      </a:dk2>
      <a:lt2>
        <a:srgbClr val="F1F1F1"/>
      </a:lt2>
      <a:accent1>
        <a:srgbClr val="B7BEB3"/>
      </a:accent1>
      <a:accent2>
        <a:srgbClr val="FCCF8F"/>
      </a:accent2>
      <a:accent3>
        <a:srgbClr val="7D412F"/>
      </a:accent3>
      <a:accent4>
        <a:srgbClr val="BBD3E3"/>
      </a:accent4>
      <a:accent5>
        <a:srgbClr val="C8C0AF"/>
      </a:accent5>
      <a:accent6>
        <a:srgbClr val="D0B791"/>
      </a:accent6>
      <a:hlink>
        <a:srgbClr val="7D412F"/>
      </a:hlink>
      <a:folHlink>
        <a:srgbClr val="132849"/>
      </a:folHlink>
    </a:clrScheme>
    <a:fontScheme name="Formue">
      <a:majorFont>
        <a:latin typeface="Georgia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85795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custClrLst>
    <a:custClr name="Ocean 1">
      <a:srgbClr val="385795"/>
    </a:custClr>
    <a:custClr name="Velvet 1">
      <a:srgbClr val="6D4694"/>
    </a:custClr>
    <a:custClr name="Raspberry 1">
      <a:srgbClr val="96355D"/>
    </a:custClr>
    <a:custClr name="Moss 1">
      <a:srgbClr val="437047"/>
    </a:custClr>
    <a:custClr>
      <a:srgbClr val="FFFFFF"/>
    </a:custClr>
    <a:custClr name="Sand 1">
      <a:srgbClr val="F5F3F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Ocean 2">
      <a:srgbClr val="99BBDE"/>
    </a:custClr>
    <a:custClr name="Velvet 2">
      <a:srgbClr val="C5A5E0"/>
    </a:custClr>
    <a:custClr name="Raspberry 2">
      <a:srgbClr val="E3AAB3"/>
    </a:custClr>
    <a:custClr name="Moss 2">
      <a:srgbClr val="ABD4A3"/>
    </a:custClr>
    <a:custClr>
      <a:srgbClr val="FFFFFF"/>
    </a:custClr>
    <a:custClr name="Sand 2">
      <a:srgbClr val="E0D6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Ocean 3">
      <a:srgbClr val="45A2FF"/>
    </a:custClr>
    <a:custClr name="Velvet 3">
      <a:srgbClr val="C76FF2"/>
    </a:custClr>
    <a:custClr name="Raspberry 3">
      <a:srgbClr val="F2637B"/>
    </a:custClr>
    <a:custClr name="Moss 3">
      <a:srgbClr val="6ECA5B"/>
    </a:custClr>
    <a:custClr>
      <a:srgbClr val="FFFFFF"/>
    </a:custClr>
    <a:custClr name="Sand 3">
      <a:srgbClr val="DECDB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Ocean 4">
      <a:srgbClr val="182461"/>
    </a:custClr>
    <a:custClr name="Velvet 4">
      <a:srgbClr val="301B59"/>
    </a:custClr>
    <a:custClr name="Raspberry 4">
      <a:srgbClr val="4F143B"/>
    </a:custClr>
    <a:custClr name="Moss 4">
      <a:srgbClr val="173621"/>
    </a:custClr>
    <a:custClr>
      <a:srgbClr val="FFFFFF"/>
    </a:custClr>
    <a:custClr name="Sand 4">
      <a:srgbClr val="D0B79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Formuesforvaltning.potx" id="{E44C732C-5888-4CA0-B14C-49DA28A2C42A}" vid="{855F9943-889C-412B-8B91-E05CEF0A9B1C}"/>
    </a:ext>
  </a:extLst>
</a:theme>
</file>

<file path=ppt/theme/theme2.xml><?xml version="1.0" encoding="utf-8"?>
<a:theme xmlns:a="http://schemas.openxmlformats.org/drawingml/2006/main" name="Office-tema">
  <a:themeElements>
    <a:clrScheme name="Burenstam och Partners">
      <a:dk1>
        <a:srgbClr val="2F3A71"/>
      </a:dk1>
      <a:lt1>
        <a:sysClr val="window" lastClr="FFFFFF"/>
      </a:lt1>
      <a:dk2>
        <a:srgbClr val="182461"/>
      </a:dk2>
      <a:lt2>
        <a:srgbClr val="F5F3F0"/>
      </a:lt2>
      <a:accent1>
        <a:srgbClr val="385795"/>
      </a:accent1>
      <a:accent2>
        <a:srgbClr val="3B6D65"/>
      </a:accent2>
      <a:accent3>
        <a:srgbClr val="6D4665"/>
      </a:accent3>
      <a:accent4>
        <a:srgbClr val="96355D"/>
      </a:accent4>
      <a:accent5>
        <a:srgbClr val="437047"/>
      </a:accent5>
      <a:accent6>
        <a:srgbClr val="905B25"/>
      </a:accent6>
      <a:hlink>
        <a:srgbClr val="8A3BD9"/>
      </a:hlink>
      <a:folHlink>
        <a:srgbClr val="6100E5"/>
      </a:folHlink>
    </a:clrScheme>
    <a:fontScheme name="Burenstam">
      <a:majorFont>
        <a:latin typeface="Formue Headline Medium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Burenstam och Partners">
      <a:dk1>
        <a:srgbClr val="2F3A71"/>
      </a:dk1>
      <a:lt1>
        <a:sysClr val="window" lastClr="FFFFFF"/>
      </a:lt1>
      <a:dk2>
        <a:srgbClr val="182461"/>
      </a:dk2>
      <a:lt2>
        <a:srgbClr val="F5F3F0"/>
      </a:lt2>
      <a:accent1>
        <a:srgbClr val="385795"/>
      </a:accent1>
      <a:accent2>
        <a:srgbClr val="3B6D65"/>
      </a:accent2>
      <a:accent3>
        <a:srgbClr val="6D4665"/>
      </a:accent3>
      <a:accent4>
        <a:srgbClr val="96355D"/>
      </a:accent4>
      <a:accent5>
        <a:srgbClr val="437047"/>
      </a:accent5>
      <a:accent6>
        <a:srgbClr val="905B25"/>
      </a:accent6>
      <a:hlink>
        <a:srgbClr val="8A3BD9"/>
      </a:hlink>
      <a:folHlink>
        <a:srgbClr val="6100E5"/>
      </a:folHlink>
    </a:clrScheme>
    <a:fontScheme name="Burenstam">
      <a:majorFont>
        <a:latin typeface="Formue Headline Medium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7DDDB5DC9386C48886E7ABC765455CD" ma:contentTypeVersion="0" ma:contentTypeDescription="Opprett et nytt dokument." ma:contentTypeScope="" ma:versionID="f71834c795685a40969a6efa7a56d6d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cadc404bf6d9421c4d8d543e6ea7a4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EBAD6A-AFE5-46E0-9A90-AF4AB80FFB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ABDA6A-1F6C-4B42-8544-08E5AE6AC91F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dfc55350-fc00-45db-8a8d-648fcd67491f"/>
    <ds:schemaRef ds:uri="d47a7f3f-29df-4b7c-8fc2-9040225c69f0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75507CF-5FBC-4754-BC09-3A2BFF893F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284</TotalTime>
  <Words>292</Words>
  <Application>Microsoft Office PowerPoint</Application>
  <PresentationFormat>Widescreen</PresentationFormat>
  <Paragraphs>79</Paragraphs>
  <Slides>6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6" baseType="lpstr">
      <vt:lpstr>Arial</vt:lpstr>
      <vt:lpstr>Arial,Sans-Serif</vt:lpstr>
      <vt:lpstr>Calibri</vt:lpstr>
      <vt:lpstr>Courier New</vt:lpstr>
      <vt:lpstr>Courier New,monospace</vt:lpstr>
      <vt:lpstr>IBM Plex Sans</vt:lpstr>
      <vt:lpstr>Sora</vt:lpstr>
      <vt:lpstr>Sora Light</vt:lpstr>
      <vt:lpstr>Formuesforvaltning</vt:lpstr>
      <vt:lpstr>think-cell Slide</vt:lpstr>
      <vt:lpstr>HARRIS |  Forretningsplan  for bygg og anlegg 2026 </vt:lpstr>
      <vt:lpstr>Strategien på selskapsnivå frem til 2027 ligger i bunn</vt:lpstr>
      <vt:lpstr>PowerPoint-presentasjon</vt:lpstr>
      <vt:lpstr>Hovedfokus corporate/forretningsjuss:  Q4 2025 – Q1 2026 - vekststrategi 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sjonsskifte  - Nettverk for arve- og familierett</dc:title>
  <dc:creator>Alexander Heiberg</dc:creator>
  <cp:lastModifiedBy>Ida Helen Flostrand Aastveit</cp:lastModifiedBy>
  <cp:revision>262</cp:revision>
  <dcterms:created xsi:type="dcterms:W3CDTF">2022-09-15T06:08:49Z</dcterms:created>
  <dcterms:modified xsi:type="dcterms:W3CDTF">2025-12-02T07:4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DDDB5DC9386C48886E7ABC765455CD</vt:lpwstr>
  </property>
  <property fmtid="{D5CDD505-2E9C-101B-9397-08002B2CF9AE}" pid="3" name="Order">
    <vt:r8>1604800</vt:r8>
  </property>
  <property fmtid="{D5CDD505-2E9C-101B-9397-08002B2CF9AE}" pid="4" name="MSIP_Label_0c43ab3e-fbea-4073-a877-7d81fbb2d8f3_Enabled">
    <vt:lpwstr>true</vt:lpwstr>
  </property>
  <property fmtid="{D5CDD505-2E9C-101B-9397-08002B2CF9AE}" pid="5" name="MSIP_Label_0c43ab3e-fbea-4073-a877-7d81fbb2d8f3_SetDate">
    <vt:lpwstr>2022-09-15T06:38:24Z</vt:lpwstr>
  </property>
  <property fmtid="{D5CDD505-2E9C-101B-9397-08002B2CF9AE}" pid="6" name="MSIP_Label_0c43ab3e-fbea-4073-a877-7d81fbb2d8f3_Method">
    <vt:lpwstr>Standard</vt:lpwstr>
  </property>
  <property fmtid="{D5CDD505-2E9C-101B-9397-08002B2CF9AE}" pid="7" name="MSIP_Label_0c43ab3e-fbea-4073-a877-7d81fbb2d8f3_Name">
    <vt:lpwstr>0c43ab3e-fbea-4073-a877-7d81fbb2d8f3</vt:lpwstr>
  </property>
  <property fmtid="{D5CDD505-2E9C-101B-9397-08002B2CF9AE}" pid="8" name="MSIP_Label_0c43ab3e-fbea-4073-a877-7d81fbb2d8f3_SiteId">
    <vt:lpwstr>6d8e40a8-45db-45c1-881f-e2de77f3f80a</vt:lpwstr>
  </property>
  <property fmtid="{D5CDD505-2E9C-101B-9397-08002B2CF9AE}" pid="9" name="MSIP_Label_0c43ab3e-fbea-4073-a877-7d81fbb2d8f3_ActionId">
    <vt:lpwstr>db78271b-469a-490f-988a-55ecba19cd16</vt:lpwstr>
  </property>
  <property fmtid="{D5CDD505-2E9C-101B-9397-08002B2CF9AE}" pid="10" name="MSIP_Label_0c43ab3e-fbea-4073-a877-7d81fbb2d8f3_ContentBits">
    <vt:lpwstr>0</vt:lpwstr>
  </property>
  <property fmtid="{D5CDD505-2E9C-101B-9397-08002B2CF9AE}" pid="11" name="MSIP_Label_7548ec38-a092-4699-aee5-a4a980d9b299_Enabled">
    <vt:lpwstr>true</vt:lpwstr>
  </property>
  <property fmtid="{D5CDD505-2E9C-101B-9397-08002B2CF9AE}" pid="12" name="MSIP_Label_7548ec38-a092-4699-aee5-a4a980d9b299_SetDate">
    <vt:lpwstr>2025-10-27T13:09:22Z</vt:lpwstr>
  </property>
  <property fmtid="{D5CDD505-2E9C-101B-9397-08002B2CF9AE}" pid="13" name="MSIP_Label_7548ec38-a092-4699-aee5-a4a980d9b299_Method">
    <vt:lpwstr>Standard</vt:lpwstr>
  </property>
  <property fmtid="{D5CDD505-2E9C-101B-9397-08002B2CF9AE}" pid="14" name="MSIP_Label_7548ec38-a092-4699-aee5-a4a980d9b299_Name">
    <vt:lpwstr>Åpen</vt:lpwstr>
  </property>
  <property fmtid="{D5CDD505-2E9C-101B-9397-08002B2CF9AE}" pid="15" name="MSIP_Label_7548ec38-a092-4699-aee5-a4a980d9b299_SiteId">
    <vt:lpwstr>24a67d58-a16d-4152-a3ae-e6dfa508b9a0</vt:lpwstr>
  </property>
  <property fmtid="{D5CDD505-2E9C-101B-9397-08002B2CF9AE}" pid="16" name="MSIP_Label_7548ec38-a092-4699-aee5-a4a980d9b299_ActionId">
    <vt:lpwstr>5af13fe2-a4c9-4220-99ca-ab7bc1ebcddd</vt:lpwstr>
  </property>
  <property fmtid="{D5CDD505-2E9C-101B-9397-08002B2CF9AE}" pid="17" name="MSIP_Label_7548ec38-a092-4699-aee5-a4a980d9b299_ContentBits">
    <vt:lpwstr>0</vt:lpwstr>
  </property>
  <property fmtid="{D5CDD505-2E9C-101B-9397-08002B2CF9AE}" pid="18" name="MSIP_Label_7548ec38-a092-4699-aee5-a4a980d9b299_Tag">
    <vt:lpwstr>10, 3, 0, 1</vt:lpwstr>
  </property>
  <property fmtid="{D5CDD505-2E9C-101B-9397-08002B2CF9AE}" pid="19" name="MediaServiceImageTags">
    <vt:lpwstr/>
  </property>
</Properties>
</file>